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E61"/>
    <a:srgbClr val="900000"/>
    <a:srgbClr val="C00000"/>
    <a:srgbClr val="FF7C80"/>
    <a:srgbClr val="A50021"/>
    <a:srgbClr val="D9D9D9"/>
    <a:srgbClr val="FF8080"/>
    <a:srgbClr val="007770"/>
    <a:srgbClr val="FF9999"/>
    <a:srgbClr val="99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5187" autoAdjust="0"/>
  </p:normalViewPr>
  <p:slideViewPr>
    <p:cSldViewPr snapToGrid="0" snapToObjects="1">
      <p:cViewPr varScale="1">
        <p:scale>
          <a:sx n="67" d="100"/>
          <a:sy n="67" d="100"/>
        </p:scale>
        <p:origin x="648" y="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48" d="100"/>
          <a:sy n="48" d="100"/>
        </p:scale>
        <p:origin x="2754" y="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w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image" Target="../media/image10.w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03F82A1-D3A0-4AA0-9D8E-331DA8BECF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C27CDF-7DDF-409D-A651-77D724FA8F8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49381B-C0BE-4BB2-AB01-164D82F137B6}" type="datetimeFigureOut">
              <a:rPr lang="en-GB" smtClean="0"/>
              <a:t>15/11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64B12D-00B9-4AC3-91C4-2DC15ACA5B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7786FE-1C4C-43B0-95E1-F364C3CA4CF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2CF012-5433-44A8-B01C-C05B57219D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80524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71CDFE-1060-9644-B3F9-C4838E64F46E}" type="datetimeFigureOut">
              <a:rPr lang="en-US" smtClean="0"/>
              <a:t>11/15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3E634-D890-1041-AF39-141A2CE2255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12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08" name="Google Shape;10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Google Shape;148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9" name="Google Shape;149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2" name="Google Shape;172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96" name="Google Shape;196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4" name="Google Shape;22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Google Shape;246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47" name="Google Shape;247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A837B-F77B-44AA-9492-374B857C82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699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6A837B-F77B-44AA-9492-374B857C82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7BB5B5-1375-4580-BC78-87C6382D72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8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2B1FC95-0CE2-064A-986C-6BD9547F98FC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2476489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223F12B-98BD-4F5D-84BA-D636F5A455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3338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223F12B-98BD-4F5D-84BA-D636F5A45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79D167-0DC9-4BA6-BD9E-DBE1A301155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DAAD2F-0D26-44B0-9736-92939927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4F2CFE2-4F2E-4D04-A7A6-0EA3938DD048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7988" y="2060574"/>
            <a:ext cx="10947400" cy="4105275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4D7CA5-44D3-45F4-99BD-0CE54BACD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9588" y="1376362"/>
            <a:ext cx="2743200" cy="4500563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 sz="24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62E1CD6-03F1-42C4-A6D2-110E3A20761F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18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6862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 Title and content">
  <p:cSld name="6 Title and content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oogle Shape;2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88" y="1588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26;p11"/>
          <p:cNvSpPr txBox="1">
            <a:spLocks noGrp="1"/>
          </p:cNvSpPr>
          <p:nvPr>
            <p:ph type="body" idx="1"/>
          </p:nvPr>
        </p:nvSpPr>
        <p:spPr>
          <a:xfrm>
            <a:off x="407988" y="1268413"/>
            <a:ext cx="10945812" cy="48974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2000" rIns="0" bIns="720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>
                <a:latin typeface="Montserrat Light"/>
                <a:ea typeface="Montserrat Light"/>
                <a:cs typeface="Montserrat Light"/>
                <a:sym typeface="Montserrat Light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Arial"/>
                <a:ea typeface="Arial"/>
                <a:cs typeface="Arial"/>
                <a:sym typeface="Arial"/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Arial"/>
                <a:ea typeface="Arial"/>
                <a:cs typeface="Arial"/>
                <a:sym typeface="Arial"/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Arial"/>
                <a:ea typeface="Arial"/>
                <a:cs typeface="Arial"/>
                <a:sym typeface="Arial"/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Arial"/>
                <a:ea typeface="Arial"/>
                <a:cs typeface="Arial"/>
                <a:sym typeface="Arial"/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Arial"/>
                <a:ea typeface="Arial"/>
                <a:cs typeface="Arial"/>
                <a:sym typeface="Arial"/>
              </a:defRPr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" name="Google Shape;27;p11"/>
          <p:cNvSpPr txBox="1">
            <a:spLocks noGrp="1"/>
          </p:cNvSpPr>
          <p:nvPr>
            <p:ph type="ftr" idx="11"/>
          </p:nvPr>
        </p:nvSpPr>
        <p:spPr>
          <a:xfrm>
            <a:off x="4038600" y="6271509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Montserrat Light"/>
                <a:ea typeface="Montserrat Light"/>
                <a:cs typeface="Montserrat Light"/>
                <a:sym typeface="Montserrat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11"/>
          <p:cNvSpPr txBox="1">
            <a:spLocks noGrp="1"/>
          </p:cNvSpPr>
          <p:nvPr>
            <p:ph type="sldNum" idx="12"/>
          </p:nvPr>
        </p:nvSpPr>
        <p:spPr>
          <a:xfrm>
            <a:off x="10885800" y="6303993"/>
            <a:ext cx="468000" cy="324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F5F4F5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F5F4F5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F5F4F5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F5F4F5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F5F4F5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F5F4F5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F5F4F5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F5F4F5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F5F4F5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" name="Google Shape;29;p11"/>
          <p:cNvSpPr txBox="1">
            <a:spLocks noGrp="1"/>
          </p:cNvSpPr>
          <p:nvPr>
            <p:ph type="title"/>
          </p:nvPr>
        </p:nvSpPr>
        <p:spPr>
          <a:xfrm>
            <a:off x="3180213" y="383414"/>
            <a:ext cx="8172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>
            <a:lvl1pPr marR="0" lvl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Montserrat Light"/>
              <a:buNone/>
              <a:defRPr sz="2000" b="0" i="0" u="none" strike="noStrike" cap="none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0" name="Google Shape;30;p11"/>
          <p:cNvSpPr txBox="1">
            <a:spLocks noGrp="1"/>
          </p:cNvSpPr>
          <p:nvPr>
            <p:ph type="body" idx="2"/>
          </p:nvPr>
        </p:nvSpPr>
        <p:spPr>
          <a:xfrm>
            <a:off x="3176263" y="788272"/>
            <a:ext cx="8172000" cy="2891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0" bIns="45700" anchor="t" anchorCtr="0">
            <a:noAutofit/>
          </a:bodyPr>
          <a:lstStyle>
            <a:lvl1pPr marL="457200" lvl="0" indent="-228600" algn="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Pts val="1600"/>
              <a:buNone/>
              <a:defRPr sz="1600">
                <a:solidFill>
                  <a:schemeClr val="accent3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1pPr>
            <a:lvl2pPr marL="914400" lvl="1" indent="-228600" algn="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3pPr>
            <a:lvl4pPr marL="1828800" lvl="3" indent="-228600" algn="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4pPr>
            <a:lvl5pPr marL="2286000" lvl="4" indent="-228600" algn="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o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" name="Google Shape;288;p8">
            <a:extLst>
              <a:ext uri="{FF2B5EF4-FFF2-40B4-BE49-F238E27FC236}">
                <a16:creationId xmlns:a16="http://schemas.microsoft.com/office/drawing/2014/main" id="{0A9985ED-79C2-4726-96DC-0821F7C3D8E7}"/>
              </a:ext>
            </a:extLst>
          </p:cNvPr>
          <p:cNvSpPr txBox="1"/>
          <p:nvPr userDrawn="1"/>
        </p:nvSpPr>
        <p:spPr>
          <a:xfrm>
            <a:off x="331825" y="6438525"/>
            <a:ext cx="3000000" cy="47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1" i="1" dirty="0">
                <a:solidFill>
                  <a:srgbClr val="434343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Originally prepared by Mackie </a:t>
            </a:r>
            <a:r>
              <a:rPr lang="en-US" sz="600" b="1" i="1" dirty="0" err="1">
                <a:solidFill>
                  <a:srgbClr val="434343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Kennihan</a:t>
            </a:r>
            <a:r>
              <a:rPr lang="en-US" sz="600" b="1" i="1" dirty="0">
                <a:solidFill>
                  <a:srgbClr val="434343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, MBA2020</a:t>
            </a:r>
            <a:endParaRPr sz="600" i="1" dirty="0">
              <a:solidFill>
                <a:srgbClr val="434343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10955018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le slide whit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EA3032-B2E3-44AC-8FED-E4D8578C4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939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0" name="think-cell Slide" r:id="rId6" imgW="359" imgH="355" progId="TCLayout.ActiveDocument.1">
                  <p:embed/>
                </p:oleObj>
              </mc:Choice>
              <mc:Fallback>
                <p:oleObj name="think-cell Slide" r:id="rId6" imgW="359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EA3032-B2E3-44AC-8FED-E4D8578C4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EB88C0C-70ED-4B7C-9906-6A1641342A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0A3187-68B4-DC4E-8270-F8C9982E2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012" y="2060575"/>
            <a:ext cx="8713787" cy="22372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r">
              <a:defRPr sz="60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D93A6C-FEA1-1244-999B-550BF5584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450104"/>
            <a:ext cx="8713787" cy="930244"/>
          </a:xfrm>
        </p:spPr>
        <p:txBody>
          <a:bodyPr>
            <a:noAutofit/>
          </a:bodyPr>
          <a:lstStyle>
            <a:lvl1pPr marL="0" indent="0" algn="r">
              <a:buNone/>
              <a:defRPr sz="2800" b="0" i="0">
                <a:ln>
                  <a:noFill/>
                </a:ln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AE069CAA-4A85-044C-B26A-0430E8AFFD7F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tx1"/>
                </a:solidFill>
              </a:rPr>
              <a:t>london.edu</a:t>
            </a:r>
          </a:p>
        </p:txBody>
      </p:sp>
    </p:spTree>
    <p:extLst>
      <p:ext uri="{BB962C8B-B14F-4D97-AF65-F5344CB8AC3E}">
        <p14:creationId xmlns:p14="http://schemas.microsoft.com/office/powerpoint/2010/main" val="4168355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ection divider smal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239EBF3-A304-F04E-8342-F357FC8743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71924" y="2060575"/>
            <a:ext cx="7380287" cy="1992951"/>
          </a:xfrm>
        </p:spPr>
        <p:txBody>
          <a:bodyPr>
            <a:noAutofit/>
          </a:bodyPr>
          <a:lstStyle>
            <a:lvl1pPr marL="0" indent="0" algn="r">
              <a:buNone/>
              <a:defRPr sz="4800" b="1">
                <a:latin typeface="+mj-lt"/>
              </a:defRPr>
            </a:lvl1pPr>
          </a:lstStyle>
          <a:p>
            <a:pPr lvl="0"/>
            <a:r>
              <a:rPr lang="en-US" dirty="0"/>
              <a:t>Section divi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F027CF-36A4-7546-9746-B0EB00F2F8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71924" y="4437063"/>
            <a:ext cx="7380288" cy="738187"/>
          </a:xfrm>
        </p:spPr>
        <p:txBody>
          <a:bodyPr>
            <a:noAutofit/>
          </a:bodyPr>
          <a:lstStyle>
            <a:lvl1pPr marL="0" indent="0" algn="r">
              <a:buNone/>
              <a:defRPr sz="2800">
                <a:latin typeface="+mj-lt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D81CB1-5799-2145-831E-14862F87939D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chemeClr val="bg1"/>
                </a:solidFill>
              </a:rPr>
              <a:t>london.edu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C76C64-1AA1-4BBD-91B3-083C60ECDC93}"/>
              </a:ext>
            </a:extLst>
          </p:cNvPr>
          <p:cNvSpPr txBox="1"/>
          <p:nvPr userDrawn="1"/>
        </p:nvSpPr>
        <p:spPr>
          <a:xfrm>
            <a:off x="10885800" y="6303992"/>
            <a:ext cx="468000" cy="324000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noProof="0" smtClean="0">
                <a:solidFill>
                  <a:schemeClr val="tx1"/>
                </a:solidFill>
              </a:rPr>
              <a:pPr lvl="0"/>
              <a:t>‹#›</a:t>
            </a:fld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126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54CA60-4B9B-4455-BE07-FA29D123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16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54CA60-4B9B-4455-BE07-FA29D123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2350E6-4203-41A1-AFDA-00A28C2C08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685294-ADB8-4D93-BE0B-E025C359B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65F7CB-3EC2-4633-9A7F-1E690CAA1D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10944225" cy="4500562"/>
          </a:xfrm>
        </p:spPr>
        <p:txBody>
          <a:bodyPr lIns="72000" rIns="72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96B07F-DAA8-4D29-8544-03DFBEFCB48B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18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Google Shape;288;p8">
            <a:extLst>
              <a:ext uri="{FF2B5EF4-FFF2-40B4-BE49-F238E27FC236}">
                <a16:creationId xmlns:a16="http://schemas.microsoft.com/office/drawing/2014/main" id="{42EE54FA-EFD6-4551-A4DC-FC5ACDB11E20}"/>
              </a:ext>
            </a:extLst>
          </p:cNvPr>
          <p:cNvSpPr txBox="1"/>
          <p:nvPr userDrawn="1"/>
        </p:nvSpPr>
        <p:spPr>
          <a:xfrm>
            <a:off x="331825" y="6438525"/>
            <a:ext cx="3000000" cy="47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1" i="1" dirty="0">
                <a:solidFill>
                  <a:srgbClr val="434343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Originally prepared by Mackie </a:t>
            </a:r>
            <a:r>
              <a:rPr lang="en-US" sz="600" b="1" i="1" dirty="0" err="1">
                <a:solidFill>
                  <a:srgbClr val="434343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Kennihan</a:t>
            </a:r>
            <a:r>
              <a:rPr lang="en-US" sz="600" b="1" i="1" dirty="0">
                <a:solidFill>
                  <a:srgbClr val="434343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, MBA2020</a:t>
            </a:r>
            <a:endParaRPr sz="600" i="1" dirty="0">
              <a:solidFill>
                <a:srgbClr val="434343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284286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E03980-52C1-4179-ABAF-BAE4161400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8631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6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E03980-52C1-4179-ABAF-BAE416140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4530924-2963-4951-B00D-76520650E9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376363"/>
            <a:ext cx="5256212" cy="4500562"/>
          </a:xfrm>
        </p:spPr>
        <p:txBody>
          <a:bodyPr lIns="72000" rIns="72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1376363"/>
            <a:ext cx="5294312" cy="4500562"/>
          </a:xfrm>
        </p:spPr>
        <p:txBody>
          <a:bodyPr lIns="72000" rIns="72000"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EA1F05E-8C53-403C-B292-C997E425E100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18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Google Shape;288;p8">
            <a:extLst>
              <a:ext uri="{FF2B5EF4-FFF2-40B4-BE49-F238E27FC236}">
                <a16:creationId xmlns:a16="http://schemas.microsoft.com/office/drawing/2014/main" id="{75988392-F73E-47D2-BF49-E05F32F5E6EA}"/>
              </a:ext>
            </a:extLst>
          </p:cNvPr>
          <p:cNvSpPr txBox="1"/>
          <p:nvPr userDrawn="1"/>
        </p:nvSpPr>
        <p:spPr>
          <a:xfrm>
            <a:off x="331825" y="6438525"/>
            <a:ext cx="3000000" cy="47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1" i="1" dirty="0">
                <a:solidFill>
                  <a:srgbClr val="434343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Originally prepared by Mackie </a:t>
            </a:r>
            <a:r>
              <a:rPr lang="en-US" sz="600" b="1" i="1" dirty="0" err="1">
                <a:solidFill>
                  <a:srgbClr val="434343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Kennihan</a:t>
            </a:r>
            <a:r>
              <a:rPr lang="en-US" sz="600" b="1" i="1" dirty="0">
                <a:solidFill>
                  <a:srgbClr val="434343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, MBA2020</a:t>
            </a:r>
            <a:endParaRPr sz="600" i="1" dirty="0">
              <a:solidFill>
                <a:srgbClr val="434343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841564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68" userDrawn="1">
          <p15:clr>
            <a:srgbClr val="FBAE40"/>
          </p15:clr>
        </p15:guide>
        <p15:guide id="3" pos="381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47822-8C7B-4F3D-A490-5F34337261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05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0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D47822-8C7B-4F3D-A490-5F3433726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E0A31A-CE81-4A68-8497-2D23DC00AF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3790E-7B2E-4139-B746-00A540893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F2D597-F6C9-4EB0-AEA6-E658BCD249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2133656"/>
            <a:ext cx="5256212" cy="3743269"/>
          </a:xfrm>
        </p:spPr>
        <p:txBody>
          <a:bodyPr lIns="72000" rIns="7200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F5B960-FE60-4F56-8B58-D0C9BA775E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59488" y="2133656"/>
            <a:ext cx="5294312" cy="3743269"/>
          </a:xfrm>
        </p:spPr>
        <p:txBody>
          <a:bodyPr lIns="72000" rIns="7200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C42845F-6E8A-42C9-8E9B-1AB81294485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07988" y="1376363"/>
            <a:ext cx="5256212" cy="757237"/>
          </a:xfrm>
        </p:spPr>
        <p:txBody>
          <a:bodyPr lIns="72000" rIns="72000" anchor="t" anchorCtr="0">
            <a:noAutofit/>
          </a:bodyPr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0DF36EE-8C1C-4947-B726-FC424BAF7A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59487" y="1377578"/>
            <a:ext cx="5292725" cy="756078"/>
          </a:xfrm>
        </p:spPr>
        <p:txBody>
          <a:bodyPr lIns="72000" rIns="72000" anchor="t" anchorCtr="0">
            <a:noAutofit/>
          </a:bodyPr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6F783A9-F1C7-4D01-953C-7FE1F6982CDB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18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Google Shape;288;p8">
            <a:extLst>
              <a:ext uri="{FF2B5EF4-FFF2-40B4-BE49-F238E27FC236}">
                <a16:creationId xmlns:a16="http://schemas.microsoft.com/office/drawing/2014/main" id="{90FED60F-346C-493C-AD55-69C4BAD507D5}"/>
              </a:ext>
            </a:extLst>
          </p:cNvPr>
          <p:cNvSpPr txBox="1"/>
          <p:nvPr userDrawn="1"/>
        </p:nvSpPr>
        <p:spPr>
          <a:xfrm>
            <a:off x="331825" y="6438525"/>
            <a:ext cx="3000000" cy="47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1" i="1" dirty="0">
                <a:solidFill>
                  <a:srgbClr val="434343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Originally prepared by Mackie </a:t>
            </a:r>
            <a:r>
              <a:rPr lang="en-US" sz="600" b="1" i="1" dirty="0" err="1">
                <a:solidFill>
                  <a:srgbClr val="434343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Kennihan</a:t>
            </a:r>
            <a:r>
              <a:rPr lang="en-US" sz="600" b="1" i="1" dirty="0">
                <a:solidFill>
                  <a:srgbClr val="434343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, MBA2020</a:t>
            </a:r>
            <a:endParaRPr sz="600" i="1" dirty="0">
              <a:solidFill>
                <a:srgbClr val="434343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283491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568">
          <p15:clr>
            <a:srgbClr val="FBAE40"/>
          </p15:clr>
        </p15:guide>
        <p15:guide id="3" pos="381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7515A7-FCE3-49E3-9403-675A35FBA1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929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4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C7515A7-FCE3-49E3-9403-675A35FBA1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BC237D-C23C-4035-A816-355040B729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34B32B-5D7F-4431-802E-4B820C4CAD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7C25BC92-FA8E-475F-B61F-78C0C9B36F1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953000" y="1376364"/>
            <a:ext cx="64023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1ADC267-6B83-4585-BB7D-2EF2E6816C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07988" y="1376364"/>
            <a:ext cx="4364037" cy="4500562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DF3F112-5537-4D95-8E82-79E227F1DFC9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18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Google Shape;288;p8">
            <a:extLst>
              <a:ext uri="{FF2B5EF4-FFF2-40B4-BE49-F238E27FC236}">
                <a16:creationId xmlns:a16="http://schemas.microsoft.com/office/drawing/2014/main" id="{5B2FE81F-B0C2-4210-B329-06A9DFE9FBE7}"/>
              </a:ext>
            </a:extLst>
          </p:cNvPr>
          <p:cNvSpPr txBox="1"/>
          <p:nvPr userDrawn="1"/>
        </p:nvSpPr>
        <p:spPr>
          <a:xfrm>
            <a:off x="331825" y="6438525"/>
            <a:ext cx="3000000" cy="47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1" i="1" dirty="0">
                <a:solidFill>
                  <a:srgbClr val="434343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Originally prepared by Mackie </a:t>
            </a:r>
            <a:r>
              <a:rPr lang="en-US" sz="600" b="1" i="1" dirty="0" err="1">
                <a:solidFill>
                  <a:srgbClr val="434343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Kennihan</a:t>
            </a:r>
            <a:r>
              <a:rPr lang="en-US" sz="600" b="1" i="1" dirty="0">
                <a:solidFill>
                  <a:srgbClr val="434343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, MBA2020</a:t>
            </a:r>
            <a:endParaRPr sz="600" i="1" dirty="0">
              <a:solidFill>
                <a:srgbClr val="434343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34918685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991631-1829-4252-B8C8-301327B62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606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8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991631-1829-4252-B8C8-301327B62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649B2D0-8A14-4493-BE40-90D0C480BD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F023C8-6EB2-440D-BFE9-11A6675AC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F03D7746-1C17-4033-B26F-14FEA4F52C6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3145E6-3152-475D-B841-AAEE37671D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3429000"/>
            <a:ext cx="5043487" cy="1944688"/>
          </a:xfrm>
          <a:solidFill>
            <a:schemeClr val="tx1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B0EBA36-90A0-4148-BC1C-5470CA1B4F23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18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7878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7D6CB0-3E10-49EA-83AC-B6135A3C8C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3154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2" name="think-cell Slide" r:id="rId5" imgW="359" imgH="355" progId="TCLayout.ActiveDocument.1">
                  <p:embed/>
                </p:oleObj>
              </mc:Choice>
              <mc:Fallback>
                <p:oleObj name="think-cell Slide" r:id="rId5" imgW="359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7D6CB0-3E10-49EA-83AC-B6135A3C8C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83F342-E541-45FD-AE1B-4BDC3046B6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43714-5E99-419F-BBE2-6F7054512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E3D7CE2-D319-4797-9285-539C8074B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1376364"/>
            <a:ext cx="3629024" cy="4500562"/>
          </a:xfrm>
          <a:solidFill>
            <a:schemeClr val="bg2"/>
          </a:solidFill>
        </p:spPr>
        <p:txBody>
          <a:bodyPr lIns="180000" tIns="180000" rIns="216000" bIns="180000">
            <a:no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1800" b="0">
                <a:solidFill>
                  <a:schemeClr val="bg1"/>
                </a:solidFill>
              </a:defRPr>
            </a:lvl2pPr>
            <a:lvl3pPr marL="914400" indent="0">
              <a:buNone/>
              <a:defRPr sz="1400" b="0">
                <a:solidFill>
                  <a:schemeClr val="bg1"/>
                </a:solidFill>
              </a:defRPr>
            </a:lvl3pPr>
            <a:lvl4pPr marL="1371600" indent="0">
              <a:buNone/>
              <a:defRPr sz="1400" b="0">
                <a:solidFill>
                  <a:schemeClr val="bg1"/>
                </a:solidFill>
              </a:defRPr>
            </a:lvl4pPr>
            <a:lvl5pPr marL="1828800" indent="0">
              <a:buNone/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F6EBB418-9610-4401-B8DA-34CC59F4C6D8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4038600" y="1376364"/>
            <a:ext cx="7316788" cy="450056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EB9C107-E909-4345-82E5-4E48EDC7030D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2562224" y="835327"/>
            <a:ext cx="8789989" cy="377736"/>
          </a:xfrm>
        </p:spPr>
        <p:txBody>
          <a:bodyPr tIns="0" anchor="t" anchorCtr="0">
            <a:noAutofit/>
          </a:bodyPr>
          <a:lstStyle>
            <a:lvl1pPr marL="0" indent="0" algn="r">
              <a:buNone/>
              <a:defRPr sz="1800" b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87084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DC7B8B-7FBC-4A8B-BF78-9F8FA0366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70146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17" imgW="359" imgH="355" progId="TCLayout.ActiveDocument.1">
                  <p:embed/>
                </p:oleObj>
              </mc:Choice>
              <mc:Fallback>
                <p:oleObj name="think-cell Slide" r:id="rId17" imgW="359" imgH="35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DC7B8B-7FBC-4A8B-BF78-9F8FA0366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E636C95-A2F8-4D89-8FF8-8C014F39D5F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043397-C7B5-4428-8513-2450FC985389}"/>
              </a:ext>
            </a:extLst>
          </p:cNvPr>
          <p:cNvSpPr txBox="1"/>
          <p:nvPr userDrawn="1"/>
        </p:nvSpPr>
        <p:spPr>
          <a:xfrm>
            <a:off x="10885800" y="6303992"/>
            <a:ext cx="468000" cy="324000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fld id="{7E972FC3-BBA0-45DD-BA6A-CA75EEE08A55}" type="slidenum">
              <a:rPr lang="en-GB" noProof="0" smtClean="0">
                <a:solidFill>
                  <a:schemeClr val="tx1"/>
                </a:solidFill>
              </a:rPr>
              <a:pPr lvl="0"/>
              <a:t>‹#›</a:t>
            </a:fld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41AF07-C2D7-B04F-9930-63B44BDE8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6401" y="1376362"/>
            <a:ext cx="10945812" cy="4500563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7AFB064-0CE3-4542-96E0-1B4C54BB2C07}"/>
              </a:ext>
            </a:extLst>
          </p:cNvPr>
          <p:cNvSpPr txBox="1">
            <a:spLocks/>
          </p:cNvSpPr>
          <p:nvPr userDrawn="1"/>
        </p:nvSpPr>
        <p:spPr>
          <a:xfrm>
            <a:off x="435420" y="6165850"/>
            <a:ext cx="2232025" cy="421530"/>
          </a:xfrm>
          <a:prstGeom prst="rect">
            <a:avLst/>
          </a:prstGeom>
        </p:spPr>
        <p:txBody>
          <a:bodyPr lIns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london.edu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08670A8D-D1C4-4298-A320-2E0CB1215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224" y="365126"/>
            <a:ext cx="8791575" cy="470202"/>
          </a:xfrm>
          <a:prstGeom prst="rect">
            <a:avLst/>
          </a:prstGeom>
        </p:spPr>
        <p:txBody>
          <a:bodyPr vert="horz" lIns="91440" tIns="45720" rIns="0" bIns="4572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7889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62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hf hd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4013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077913" indent="-3619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354013" algn="l" defTabSz="914400" rtl="0" eaLnBrk="1" latinLnBrk="0" hangingPunct="1">
        <a:lnSpc>
          <a:spcPct val="90000"/>
        </a:lnSpc>
        <a:spcBef>
          <a:spcPts val="3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793875" indent="-361950" algn="l" defTabSz="914400" rtl="0" eaLnBrk="1" latinLnBrk="0" hangingPunct="1">
        <a:lnSpc>
          <a:spcPct val="90000"/>
        </a:lnSpc>
        <a:spcBef>
          <a:spcPts val="2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151" userDrawn="1">
          <p15:clr>
            <a:srgbClr val="F26B43"/>
          </p15:clr>
        </p15:guide>
        <p15:guide id="3" orient="horz" pos="278" userDrawn="1">
          <p15:clr>
            <a:srgbClr val="F26B43"/>
          </p15:clr>
        </p15:guide>
        <p15:guide id="4" pos="257" userDrawn="1">
          <p15:clr>
            <a:srgbClr val="F26B43"/>
          </p15:clr>
        </p15:guide>
        <p15:guide id="6" orient="horz" pos="4110" userDrawn="1">
          <p15:clr>
            <a:srgbClr val="F26B43"/>
          </p15:clr>
        </p15:guide>
        <p15:guide id="8" orient="horz" pos="3884" userDrawn="1">
          <p15:clr>
            <a:srgbClr val="F26B43"/>
          </p15:clr>
        </p15:guide>
        <p15:guide id="9" orient="horz" pos="867" userDrawn="1">
          <p15:clr>
            <a:srgbClr val="F26B43"/>
          </p15:clr>
        </p15:guide>
        <p15:guide id="10" orient="horz" pos="3702" userDrawn="1">
          <p15:clr>
            <a:srgbClr val="F26B43"/>
          </p15:clr>
        </p15:guide>
        <p15:guide id="12" orient="horz" pos="4320" userDrawn="1">
          <p15:clr>
            <a:srgbClr val="F26B43"/>
          </p15:clr>
        </p15:guide>
        <p15:guide id="13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9.wmf"/><Relationship Id="rId4" Type="http://schemas.openxmlformats.org/officeDocument/2006/relationships/oleObject" Target="../embeddings/oleObject1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notesSlide" Target="../notesSlides/notesSlide4.xml"/><Relationship Id="rId7" Type="http://schemas.openxmlformats.org/officeDocument/2006/relationships/hyperlink" Target="https://drive.google.com/file/d/120axmRgzTHQNK2MIhBC955OnK0ydwmLz/view" TargetMode="Externa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13.vml"/><Relationship Id="rId6" Type="http://schemas.openxmlformats.org/officeDocument/2006/relationships/hyperlink" Target="mailto:vjhamtani.mba2022@london.edu" TargetMode="External"/><Relationship Id="rId11" Type="http://schemas.openxmlformats.org/officeDocument/2006/relationships/image" Target="../media/image11.wmf"/><Relationship Id="rId5" Type="http://schemas.openxmlformats.org/officeDocument/2006/relationships/hyperlink" Target="mailto:eboyanoski.mba2021@london.edu" TargetMode="External"/><Relationship Id="rId10" Type="http://schemas.openxmlformats.org/officeDocument/2006/relationships/package" Target="../embeddings/Microsoft_Word_Document.docx"/><Relationship Id="rId4" Type="http://schemas.openxmlformats.org/officeDocument/2006/relationships/hyperlink" Target="mailto:Ibrahim%20Nahas%20%3cinahas.mba2020@london.edu%3e" TargetMode="External"/><Relationship Id="rId9" Type="http://schemas.openxmlformats.org/officeDocument/2006/relationships/image" Target="../media/image10.w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2.wmf"/><Relationship Id="rId4" Type="http://schemas.openxmlformats.org/officeDocument/2006/relationships/oleObject" Target="../embeddings/oleObject1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wmf"/><Relationship Id="rId5" Type="http://schemas.openxmlformats.org/officeDocument/2006/relationships/oleObject" Target="../embeddings/oleObject15.bin"/><Relationship Id="rId4" Type="http://schemas.openxmlformats.org/officeDocument/2006/relationships/hyperlink" Target="https://lbssa.freshdesk.com/support/solutions/articles/43000404089-how-do-i-submit-a-reimbursement-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493D53-068A-4B40-AFF1-92E63DD027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0674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1" name="think-cell Slide" r:id="rId5" imgW="663" imgH="664" progId="TCLayout.ActiveDocument.1">
                  <p:embed/>
                </p:oleObj>
              </mc:Choice>
              <mc:Fallback>
                <p:oleObj name="think-cell Slide" r:id="rId5" imgW="663" imgH="66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493D53-068A-4B40-AFF1-92E63DD027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63906FB-4F9F-479D-A1E2-1080A843424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A1A423D3-9279-426C-8411-74BB450590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40012" y="4622948"/>
            <a:ext cx="8713788" cy="930244"/>
          </a:xfrm>
        </p:spPr>
        <p:txBody>
          <a:bodyPr/>
          <a:lstStyle/>
          <a:p>
            <a:r>
              <a:rPr lang="en-US" dirty="0"/>
              <a:t>All you need to know as a </a:t>
            </a:r>
            <a:r>
              <a:rPr lang="en-US" b="1" dirty="0"/>
              <a:t>non-treasury club member</a:t>
            </a:r>
          </a:p>
          <a:p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7228BC1-A93F-4E24-B4BA-B3D3A37A203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reasury Toolbox</a:t>
            </a:r>
          </a:p>
        </p:txBody>
      </p:sp>
    </p:spTree>
    <p:extLst>
      <p:ext uri="{BB962C8B-B14F-4D97-AF65-F5344CB8AC3E}">
        <p14:creationId xmlns:p14="http://schemas.microsoft.com/office/powerpoint/2010/main" val="34845593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0" name="Google Shape;110;p2"/>
          <p:cNvCxnSpPr/>
          <p:nvPr/>
        </p:nvCxnSpPr>
        <p:spPr>
          <a:xfrm rot="10800000">
            <a:off x="4109848" y="2351594"/>
            <a:ext cx="0" cy="365456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11" name="Google Shape;111;p2"/>
          <p:cNvSpPr/>
          <p:nvPr/>
        </p:nvSpPr>
        <p:spPr>
          <a:xfrm rot="6772809">
            <a:off x="3530381" y="2740365"/>
            <a:ext cx="1178185" cy="1178185"/>
          </a:xfrm>
          <a:prstGeom prst="chord">
            <a:avLst>
              <a:gd name="adj1" fmla="val 3995039"/>
              <a:gd name="adj2" fmla="val 14821332"/>
            </a:avLst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2" name="Google Shape;112;p2"/>
          <p:cNvCxnSpPr/>
          <p:nvPr/>
        </p:nvCxnSpPr>
        <p:spPr>
          <a:xfrm rot="10800000">
            <a:off x="8263144" y="2351595"/>
            <a:ext cx="0" cy="365456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13" name="Google Shape;113;p2"/>
          <p:cNvSpPr/>
          <p:nvPr/>
        </p:nvSpPr>
        <p:spPr>
          <a:xfrm rot="6772809">
            <a:off x="7683677" y="2740366"/>
            <a:ext cx="1178185" cy="1178185"/>
          </a:xfrm>
          <a:prstGeom prst="chord">
            <a:avLst>
              <a:gd name="adj1" fmla="val 3995039"/>
              <a:gd name="adj2" fmla="val 14821332"/>
            </a:avLst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4" name="Google Shape;114;p2"/>
          <p:cNvCxnSpPr/>
          <p:nvPr/>
        </p:nvCxnSpPr>
        <p:spPr>
          <a:xfrm rot="10800000">
            <a:off x="6191772" y="2351594"/>
            <a:ext cx="0" cy="365456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oval" w="med" len="med"/>
          </a:ln>
        </p:spPr>
      </p:cxnSp>
      <p:cxnSp>
        <p:nvCxnSpPr>
          <p:cNvPr id="115" name="Google Shape;115;p2"/>
          <p:cNvCxnSpPr/>
          <p:nvPr/>
        </p:nvCxnSpPr>
        <p:spPr>
          <a:xfrm rot="10800000">
            <a:off x="10353766" y="2351594"/>
            <a:ext cx="0" cy="365456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oval" w="med" len="med"/>
          </a:ln>
        </p:spPr>
      </p:cxnSp>
      <p:cxnSp>
        <p:nvCxnSpPr>
          <p:cNvPr id="116" name="Google Shape;116;p2"/>
          <p:cNvCxnSpPr/>
          <p:nvPr/>
        </p:nvCxnSpPr>
        <p:spPr>
          <a:xfrm rot="10800000">
            <a:off x="2040076" y="2351594"/>
            <a:ext cx="0" cy="365456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17" name="Google Shape;117;p2"/>
          <p:cNvSpPr/>
          <p:nvPr/>
        </p:nvSpPr>
        <p:spPr>
          <a:xfrm rot="6772809">
            <a:off x="5609777" y="2740365"/>
            <a:ext cx="1178185" cy="1178185"/>
          </a:xfrm>
          <a:prstGeom prst="chord">
            <a:avLst>
              <a:gd name="adj1" fmla="val 3995039"/>
              <a:gd name="adj2" fmla="val 14821332"/>
            </a:avLst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" name="Google Shape;118;p2"/>
          <p:cNvSpPr/>
          <p:nvPr/>
        </p:nvSpPr>
        <p:spPr>
          <a:xfrm rot="6772809">
            <a:off x="9768564" y="2740365"/>
            <a:ext cx="1178185" cy="1178185"/>
          </a:xfrm>
          <a:prstGeom prst="chord">
            <a:avLst>
              <a:gd name="adj1" fmla="val 3995039"/>
              <a:gd name="adj2" fmla="val 14821332"/>
            </a:avLst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" name="Google Shape;119;p2"/>
          <p:cNvSpPr/>
          <p:nvPr/>
        </p:nvSpPr>
        <p:spPr>
          <a:xfrm rot="6772809">
            <a:off x="1460609" y="2740365"/>
            <a:ext cx="1178185" cy="1178185"/>
          </a:xfrm>
          <a:prstGeom prst="chord">
            <a:avLst>
              <a:gd name="adj1" fmla="val 3995039"/>
              <a:gd name="adj2" fmla="val 14821332"/>
            </a:avLst>
          </a:prstGeom>
          <a:solidFill>
            <a:schemeClr val="lt1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Google Shape;120;p2"/>
          <p:cNvSpPr txBox="1">
            <a:spLocks noGrp="1"/>
          </p:cNvSpPr>
          <p:nvPr>
            <p:ph type="sldNum" idx="12"/>
          </p:nvPr>
        </p:nvSpPr>
        <p:spPr>
          <a:xfrm>
            <a:off x="10885800" y="6303993"/>
            <a:ext cx="468000" cy="324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2</a:t>
            </a:fld>
            <a:endParaRPr/>
          </a:p>
        </p:txBody>
      </p:sp>
      <p:sp>
        <p:nvSpPr>
          <p:cNvPr id="121" name="Google Shape;121;p2"/>
          <p:cNvSpPr txBox="1">
            <a:spLocks noGrp="1"/>
          </p:cNvSpPr>
          <p:nvPr>
            <p:ph type="title"/>
          </p:nvPr>
        </p:nvSpPr>
        <p:spPr>
          <a:xfrm>
            <a:off x="3183070" y="243262"/>
            <a:ext cx="8172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Montserrat Light"/>
              <a:buNone/>
            </a:pPr>
            <a:r>
              <a:rPr lang="en-US" b="1"/>
              <a:t>Treasury Activities &amp; Timeline</a:t>
            </a:r>
            <a:endParaRPr b="1"/>
          </a:p>
        </p:txBody>
      </p:sp>
      <p:sp>
        <p:nvSpPr>
          <p:cNvPr id="122" name="Google Shape;122;p2"/>
          <p:cNvSpPr txBox="1">
            <a:spLocks noGrp="1"/>
          </p:cNvSpPr>
          <p:nvPr>
            <p:ph type="body" idx="2"/>
          </p:nvPr>
        </p:nvSpPr>
        <p:spPr>
          <a:xfrm>
            <a:off x="3181800" y="639718"/>
            <a:ext cx="8172000" cy="2891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0" bIns="0" anchor="ctr" anchorCtr="0">
            <a:noAutofit/>
          </a:bodyPr>
          <a:lstStyle/>
          <a:p>
            <a:pPr marL="457200" lvl="0" indent="-22860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</a:pPr>
            <a:r>
              <a:rPr lang="en-US"/>
              <a:t>When &amp; how to involve treasury in event planning</a:t>
            </a:r>
            <a:endParaRPr/>
          </a:p>
        </p:txBody>
      </p:sp>
      <p:cxnSp>
        <p:nvCxnSpPr>
          <p:cNvPr id="123" name="Google Shape;123;p2"/>
          <p:cNvCxnSpPr/>
          <p:nvPr/>
        </p:nvCxnSpPr>
        <p:spPr>
          <a:xfrm>
            <a:off x="1019002" y="3329472"/>
            <a:ext cx="10359736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4" name="Google Shape;124;p2"/>
          <p:cNvSpPr/>
          <p:nvPr/>
        </p:nvSpPr>
        <p:spPr>
          <a:xfrm>
            <a:off x="883861" y="3247491"/>
            <a:ext cx="163935" cy="163935"/>
          </a:xfrm>
          <a:prstGeom prst="ellipse">
            <a:avLst/>
          </a:prstGeom>
          <a:solidFill>
            <a:srgbClr val="E5E7EE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" name="Google Shape;125;p2"/>
          <p:cNvSpPr/>
          <p:nvPr/>
        </p:nvSpPr>
        <p:spPr>
          <a:xfrm>
            <a:off x="11296770" y="3247491"/>
            <a:ext cx="163935" cy="163935"/>
          </a:xfrm>
          <a:prstGeom prst="ellipse">
            <a:avLst/>
          </a:prstGeom>
          <a:solidFill>
            <a:srgbClr val="E5E7EE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6" name="Google Shape;126;p2"/>
          <p:cNvSpPr/>
          <p:nvPr/>
        </p:nvSpPr>
        <p:spPr>
          <a:xfrm>
            <a:off x="1542871" y="2832253"/>
            <a:ext cx="994410" cy="994410"/>
          </a:xfrm>
          <a:prstGeom prst="ellipse">
            <a:avLst/>
          </a:prstGeom>
          <a:solidFill>
            <a:schemeClr val="accent1"/>
          </a:solidFill>
          <a:ln w="9525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" name="Google Shape;127;p2"/>
          <p:cNvSpPr/>
          <p:nvPr/>
        </p:nvSpPr>
        <p:spPr>
          <a:xfrm>
            <a:off x="3622268" y="2832253"/>
            <a:ext cx="994410" cy="994410"/>
          </a:xfrm>
          <a:prstGeom prst="ellipse">
            <a:avLst/>
          </a:prstGeom>
          <a:solidFill>
            <a:schemeClr val="accent1"/>
          </a:solidFill>
          <a:ln w="9525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8" name="Google Shape;128;p2"/>
          <p:cNvSpPr/>
          <p:nvPr/>
        </p:nvSpPr>
        <p:spPr>
          <a:xfrm>
            <a:off x="5701665" y="2832253"/>
            <a:ext cx="994410" cy="994410"/>
          </a:xfrm>
          <a:prstGeom prst="ellipse">
            <a:avLst/>
          </a:prstGeom>
          <a:solidFill>
            <a:schemeClr val="accent1"/>
          </a:solidFill>
          <a:ln w="9525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0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400"/>
              <a:buFont typeface="Arial"/>
              <a:buNone/>
            </a:pPr>
            <a:r>
              <a:rPr lang="en-US" sz="4400" b="0" i="0" u="none" strike="noStrike" cap="none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rPr>
              <a:t>£</a:t>
            </a:r>
            <a:r>
              <a:rPr lang="en-US" sz="3600" b="0" i="0" u="none" strike="noStrike" cap="none" baseline="30000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rPr>
              <a:t>+</a:t>
            </a:r>
            <a:endParaRPr sz="4800" b="0" i="0" u="none" strike="noStrike" cap="none" baseline="30000">
              <a:solidFill>
                <a:schemeClr val="lt1"/>
              </a:solidFill>
              <a:latin typeface="Cambria"/>
              <a:ea typeface="Cambria"/>
              <a:cs typeface="Cambria"/>
              <a:sym typeface="Cambria"/>
            </a:endParaRPr>
          </a:p>
        </p:txBody>
      </p:sp>
      <p:sp>
        <p:nvSpPr>
          <p:cNvPr id="129" name="Google Shape;129;p2"/>
          <p:cNvSpPr/>
          <p:nvPr/>
        </p:nvSpPr>
        <p:spPr>
          <a:xfrm>
            <a:off x="7781062" y="2832253"/>
            <a:ext cx="994410" cy="994410"/>
          </a:xfrm>
          <a:prstGeom prst="ellipse">
            <a:avLst/>
          </a:prstGeom>
          <a:solidFill>
            <a:schemeClr val="accent1"/>
          </a:solidFill>
          <a:ln w="9525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" name="Google Shape;130;p2"/>
          <p:cNvSpPr/>
          <p:nvPr/>
        </p:nvSpPr>
        <p:spPr>
          <a:xfrm>
            <a:off x="9860459" y="2832252"/>
            <a:ext cx="994410" cy="994410"/>
          </a:xfrm>
          <a:prstGeom prst="ellipse">
            <a:avLst/>
          </a:prstGeom>
          <a:solidFill>
            <a:schemeClr val="accent1"/>
          </a:solidFill>
          <a:ln w="9525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" name="Google Shape;131;p2"/>
          <p:cNvSpPr txBox="1"/>
          <p:nvPr/>
        </p:nvSpPr>
        <p:spPr>
          <a:xfrm>
            <a:off x="1428875" y="1748060"/>
            <a:ext cx="1222402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Develop Event Idea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2" name="Google Shape;132;p2"/>
          <p:cNvSpPr txBox="1"/>
          <p:nvPr/>
        </p:nvSpPr>
        <p:spPr>
          <a:xfrm>
            <a:off x="3299875" y="1739427"/>
            <a:ext cx="1627017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Request Finance Code</a:t>
            </a:r>
            <a:endParaRPr sz="1400" b="0" i="0" u="none" strike="noStrike" cap="none">
              <a:solidFill>
                <a:srgbClr val="00000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133" name="Google Shape;133;p2"/>
          <p:cNvSpPr txBox="1"/>
          <p:nvPr/>
        </p:nvSpPr>
        <p:spPr>
          <a:xfrm>
            <a:off x="5452219" y="1748060"/>
            <a:ext cx="1479106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Engage with Sponsors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4" name="Google Shape;134;p2"/>
          <p:cNvSpPr txBox="1"/>
          <p:nvPr/>
        </p:nvSpPr>
        <p:spPr>
          <a:xfrm>
            <a:off x="7667053" y="1736433"/>
            <a:ext cx="1222402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Pay Supplie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5" name="Google Shape;135;p2"/>
          <p:cNvSpPr txBox="1"/>
          <p:nvPr/>
        </p:nvSpPr>
        <p:spPr>
          <a:xfrm>
            <a:off x="9448608" y="1741898"/>
            <a:ext cx="1789719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Request Reimbursemen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6" name="Google Shape;136;p2"/>
          <p:cNvSpPr/>
          <p:nvPr/>
        </p:nvSpPr>
        <p:spPr>
          <a:xfrm>
            <a:off x="9059301" y="3064125"/>
            <a:ext cx="530663" cy="530663"/>
          </a:xfrm>
          <a:prstGeom prst="star10">
            <a:avLst>
              <a:gd name="adj" fmla="val 42533"/>
              <a:gd name="hf" fmla="val 105146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" name="Google Shape;137;p2"/>
          <p:cNvSpPr txBox="1"/>
          <p:nvPr/>
        </p:nvSpPr>
        <p:spPr>
          <a:xfrm>
            <a:off x="8709343" y="3587647"/>
            <a:ext cx="1222402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Host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Even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38" name="Google Shape;138;p2"/>
          <p:cNvGraphicFramePr/>
          <p:nvPr/>
        </p:nvGraphicFramePr>
        <p:xfrm>
          <a:off x="1022396" y="4297043"/>
          <a:ext cx="10332700" cy="59437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0883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83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83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88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9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1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Document idea 8 months to </a:t>
                      </a:r>
                      <a:r>
                        <a:rPr lang="en-US" sz="1100" b="1" u="none" strike="noStrike" cap="none">
                          <a:solidFill>
                            <a:srgbClr val="C80F2E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3 weeks </a:t>
                      </a:r>
                      <a:r>
                        <a:rPr lang="en-US" sz="11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before event date</a:t>
                      </a:r>
                      <a:endParaRPr sz="1100" b="1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274325" marR="274325" marT="45725" marB="45725" anchor="ctr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1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Request as soon as event is approved but </a:t>
                      </a:r>
                      <a:r>
                        <a:rPr lang="en-US" sz="1100" b="1" i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t least </a:t>
                      </a:r>
                      <a:r>
                        <a:rPr lang="en-US" sz="1100" b="1" i="0" u="none" strike="noStrike" cap="none">
                          <a:solidFill>
                            <a:srgbClr val="C80F2E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2 weeks </a:t>
                      </a:r>
                      <a:r>
                        <a:rPr lang="en-US" sz="1100" b="1" i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before event </a:t>
                      </a:r>
                      <a:endParaRPr sz="1100" b="1" i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274325" marR="274325" marT="45725" marB="45725" anchor="ctr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1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Draft contracts </a:t>
                      </a:r>
                      <a:r>
                        <a:rPr lang="en-US" sz="11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t least </a:t>
                      </a:r>
                      <a:r>
                        <a:rPr lang="en-US" sz="1100" b="1" u="none" strike="noStrike" cap="none">
                          <a:solidFill>
                            <a:srgbClr val="C80F2E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3 weeks </a:t>
                      </a:r>
                      <a:r>
                        <a:rPr lang="en-US" sz="11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before event </a:t>
                      </a:r>
                      <a:r>
                        <a:rPr lang="en-US" sz="1100" i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(finance code required)</a:t>
                      </a:r>
                      <a:endParaRPr sz="1100" i="1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274325" marR="274325" marT="45725" marB="45725" anchor="ctr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1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Obtain invoice </a:t>
                      </a:r>
                      <a:r>
                        <a:rPr lang="en-US" sz="11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t least </a:t>
                      </a:r>
                      <a:r>
                        <a:rPr lang="en-US" sz="1100" b="1" u="none" strike="noStrike" cap="none">
                          <a:solidFill>
                            <a:srgbClr val="C80F2E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3 weeks </a:t>
                      </a:r>
                      <a:r>
                        <a:rPr lang="en-US" sz="11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before event </a:t>
                      </a:r>
                      <a:r>
                        <a:rPr lang="en-US" sz="1100" i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(finance code required)</a:t>
                      </a:r>
                      <a:endParaRPr sz="1100" i="1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274325" marR="274325" marT="45725" marB="45725" anchor="ctr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1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ubmit expense receipts </a:t>
                      </a:r>
                      <a:r>
                        <a:rPr lang="en-US" sz="1100" b="1" u="none" strike="noStrike" cap="none">
                          <a:solidFill>
                            <a:srgbClr val="C80F2E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within 2 weeks </a:t>
                      </a:r>
                      <a:r>
                        <a:rPr lang="en-US" sz="11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of event</a:t>
                      </a:r>
                      <a:endParaRPr sz="1100" b="1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274325" marR="274325" marT="45725" marB="45725" anchor="ctr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9" name="Google Shape;139;p2"/>
          <p:cNvSpPr/>
          <p:nvPr/>
        </p:nvSpPr>
        <p:spPr>
          <a:xfrm>
            <a:off x="1874824" y="3098281"/>
            <a:ext cx="336005" cy="490585"/>
          </a:xfrm>
          <a:custGeom>
            <a:avLst/>
            <a:gdLst/>
            <a:ahLst/>
            <a:cxnLst/>
            <a:rect l="l" t="t" r="r" b="b"/>
            <a:pathLst>
              <a:path w="199" h="320" extrusionOk="0">
                <a:moveTo>
                  <a:pt x="99" y="0"/>
                </a:moveTo>
                <a:cubicBezTo>
                  <a:pt x="99" y="0"/>
                  <a:pt x="99" y="0"/>
                  <a:pt x="99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99" y="0"/>
                  <a:pt x="99" y="0"/>
                  <a:pt x="98" y="0"/>
                </a:cubicBezTo>
                <a:cubicBezTo>
                  <a:pt x="45" y="0"/>
                  <a:pt x="0" y="44"/>
                  <a:pt x="0" y="95"/>
                </a:cubicBezTo>
                <a:cubicBezTo>
                  <a:pt x="0" y="129"/>
                  <a:pt x="18" y="157"/>
                  <a:pt x="19" y="158"/>
                </a:cubicBezTo>
                <a:cubicBezTo>
                  <a:pt x="32" y="179"/>
                  <a:pt x="45" y="206"/>
                  <a:pt x="45" y="213"/>
                </a:cubicBezTo>
                <a:cubicBezTo>
                  <a:pt x="45" y="245"/>
                  <a:pt x="45" y="245"/>
                  <a:pt x="45" y="245"/>
                </a:cubicBezTo>
                <a:cubicBezTo>
                  <a:pt x="45" y="245"/>
                  <a:pt x="45" y="246"/>
                  <a:pt x="46" y="246"/>
                </a:cubicBezTo>
                <a:cubicBezTo>
                  <a:pt x="46" y="246"/>
                  <a:pt x="45" y="246"/>
                  <a:pt x="45" y="247"/>
                </a:cubicBezTo>
                <a:cubicBezTo>
                  <a:pt x="56" y="311"/>
                  <a:pt x="56" y="311"/>
                  <a:pt x="56" y="311"/>
                </a:cubicBezTo>
                <a:cubicBezTo>
                  <a:pt x="57" y="316"/>
                  <a:pt x="61" y="320"/>
                  <a:pt x="67" y="320"/>
                </a:cubicBezTo>
                <a:cubicBezTo>
                  <a:pt x="131" y="320"/>
                  <a:pt x="131" y="320"/>
                  <a:pt x="131" y="320"/>
                </a:cubicBezTo>
                <a:cubicBezTo>
                  <a:pt x="136" y="320"/>
                  <a:pt x="140" y="316"/>
                  <a:pt x="141" y="311"/>
                </a:cubicBezTo>
                <a:cubicBezTo>
                  <a:pt x="152" y="247"/>
                  <a:pt x="152" y="247"/>
                  <a:pt x="152" y="247"/>
                </a:cubicBezTo>
                <a:cubicBezTo>
                  <a:pt x="152" y="246"/>
                  <a:pt x="152" y="246"/>
                  <a:pt x="152" y="246"/>
                </a:cubicBezTo>
                <a:cubicBezTo>
                  <a:pt x="152" y="246"/>
                  <a:pt x="152" y="245"/>
                  <a:pt x="152" y="245"/>
                </a:cubicBezTo>
                <a:cubicBezTo>
                  <a:pt x="152" y="213"/>
                  <a:pt x="152" y="213"/>
                  <a:pt x="152" y="213"/>
                </a:cubicBezTo>
                <a:cubicBezTo>
                  <a:pt x="152" y="206"/>
                  <a:pt x="166" y="179"/>
                  <a:pt x="179" y="158"/>
                </a:cubicBezTo>
                <a:cubicBezTo>
                  <a:pt x="180" y="157"/>
                  <a:pt x="199" y="129"/>
                  <a:pt x="199" y="95"/>
                </a:cubicBezTo>
                <a:cubicBezTo>
                  <a:pt x="199" y="44"/>
                  <a:pt x="153" y="0"/>
                  <a:pt x="99" y="0"/>
                </a:cubicBezTo>
                <a:close/>
                <a:moveTo>
                  <a:pt x="122" y="298"/>
                </a:moveTo>
                <a:cubicBezTo>
                  <a:pt x="76" y="298"/>
                  <a:pt x="76" y="298"/>
                  <a:pt x="76" y="298"/>
                </a:cubicBezTo>
                <a:cubicBezTo>
                  <a:pt x="69" y="256"/>
                  <a:pt x="69" y="256"/>
                  <a:pt x="69" y="256"/>
                </a:cubicBezTo>
                <a:cubicBezTo>
                  <a:pt x="129" y="256"/>
                  <a:pt x="129" y="256"/>
                  <a:pt x="129" y="256"/>
                </a:cubicBezTo>
                <a:lnTo>
                  <a:pt x="122" y="298"/>
                </a:lnTo>
                <a:close/>
                <a:moveTo>
                  <a:pt x="161" y="147"/>
                </a:moveTo>
                <a:cubicBezTo>
                  <a:pt x="154" y="158"/>
                  <a:pt x="131" y="196"/>
                  <a:pt x="131" y="213"/>
                </a:cubicBezTo>
                <a:cubicBezTo>
                  <a:pt x="131" y="234"/>
                  <a:pt x="131" y="234"/>
                  <a:pt x="131" y="234"/>
                </a:cubicBezTo>
                <a:cubicBezTo>
                  <a:pt x="109" y="234"/>
                  <a:pt x="109" y="234"/>
                  <a:pt x="109" y="234"/>
                </a:cubicBezTo>
                <a:cubicBezTo>
                  <a:pt x="109" y="153"/>
                  <a:pt x="109" y="153"/>
                  <a:pt x="109" y="153"/>
                </a:cubicBezTo>
                <a:cubicBezTo>
                  <a:pt x="128" y="135"/>
                  <a:pt x="128" y="135"/>
                  <a:pt x="128" y="135"/>
                </a:cubicBezTo>
                <a:cubicBezTo>
                  <a:pt x="132" y="131"/>
                  <a:pt x="132" y="124"/>
                  <a:pt x="128" y="120"/>
                </a:cubicBezTo>
                <a:cubicBezTo>
                  <a:pt x="123" y="116"/>
                  <a:pt x="117" y="116"/>
                  <a:pt x="112" y="120"/>
                </a:cubicBezTo>
                <a:cubicBezTo>
                  <a:pt x="99" y="134"/>
                  <a:pt x="99" y="134"/>
                  <a:pt x="99" y="134"/>
                </a:cubicBezTo>
                <a:cubicBezTo>
                  <a:pt x="85" y="120"/>
                  <a:pt x="85" y="120"/>
                  <a:pt x="85" y="120"/>
                </a:cubicBezTo>
                <a:cubicBezTo>
                  <a:pt x="81" y="116"/>
                  <a:pt x="74" y="116"/>
                  <a:pt x="70" y="120"/>
                </a:cubicBezTo>
                <a:cubicBezTo>
                  <a:pt x="66" y="124"/>
                  <a:pt x="66" y="131"/>
                  <a:pt x="70" y="135"/>
                </a:cubicBezTo>
                <a:cubicBezTo>
                  <a:pt x="88" y="153"/>
                  <a:pt x="88" y="153"/>
                  <a:pt x="88" y="153"/>
                </a:cubicBezTo>
                <a:cubicBezTo>
                  <a:pt x="88" y="234"/>
                  <a:pt x="88" y="234"/>
                  <a:pt x="88" y="234"/>
                </a:cubicBezTo>
                <a:cubicBezTo>
                  <a:pt x="67" y="234"/>
                  <a:pt x="67" y="234"/>
                  <a:pt x="67" y="234"/>
                </a:cubicBezTo>
                <a:cubicBezTo>
                  <a:pt x="67" y="213"/>
                  <a:pt x="67" y="213"/>
                  <a:pt x="67" y="213"/>
                </a:cubicBezTo>
                <a:cubicBezTo>
                  <a:pt x="67" y="196"/>
                  <a:pt x="44" y="158"/>
                  <a:pt x="37" y="146"/>
                </a:cubicBezTo>
                <a:cubicBezTo>
                  <a:pt x="37" y="146"/>
                  <a:pt x="21" y="123"/>
                  <a:pt x="21" y="95"/>
                </a:cubicBezTo>
                <a:cubicBezTo>
                  <a:pt x="21" y="55"/>
                  <a:pt x="57" y="21"/>
                  <a:pt x="99" y="21"/>
                </a:cubicBezTo>
                <a:cubicBezTo>
                  <a:pt x="141" y="21"/>
                  <a:pt x="177" y="55"/>
                  <a:pt x="177" y="95"/>
                </a:cubicBezTo>
                <a:cubicBezTo>
                  <a:pt x="177" y="122"/>
                  <a:pt x="161" y="146"/>
                  <a:pt x="161" y="147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0" name="Google Shape;140;p2"/>
          <p:cNvSpPr/>
          <p:nvPr/>
        </p:nvSpPr>
        <p:spPr>
          <a:xfrm>
            <a:off x="3851127" y="3230913"/>
            <a:ext cx="542188" cy="216366"/>
          </a:xfrm>
          <a:custGeom>
            <a:avLst/>
            <a:gdLst/>
            <a:ahLst/>
            <a:cxnLst/>
            <a:rect l="l" t="t" r="r" b="b"/>
            <a:pathLst>
              <a:path w="320" h="128" extrusionOk="0">
                <a:moveTo>
                  <a:pt x="309" y="53"/>
                </a:moveTo>
                <a:cubicBezTo>
                  <a:pt x="127" y="53"/>
                  <a:pt x="127" y="53"/>
                  <a:pt x="127" y="53"/>
                </a:cubicBezTo>
                <a:cubicBezTo>
                  <a:pt x="122" y="23"/>
                  <a:pt x="95" y="0"/>
                  <a:pt x="64" y="0"/>
                </a:cubicBezTo>
                <a:cubicBezTo>
                  <a:pt x="28" y="0"/>
                  <a:pt x="0" y="28"/>
                  <a:pt x="0" y="64"/>
                </a:cubicBezTo>
                <a:cubicBezTo>
                  <a:pt x="0" y="99"/>
                  <a:pt x="28" y="128"/>
                  <a:pt x="64" y="128"/>
                </a:cubicBezTo>
                <a:cubicBezTo>
                  <a:pt x="95" y="128"/>
                  <a:pt x="122" y="105"/>
                  <a:pt x="127" y="74"/>
                </a:cubicBezTo>
                <a:cubicBezTo>
                  <a:pt x="256" y="74"/>
                  <a:pt x="256" y="74"/>
                  <a:pt x="256" y="74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102"/>
                  <a:pt x="260" y="106"/>
                  <a:pt x="266" y="106"/>
                </a:cubicBezTo>
                <a:cubicBezTo>
                  <a:pt x="272" y="106"/>
                  <a:pt x="277" y="102"/>
                  <a:pt x="277" y="96"/>
                </a:cubicBezTo>
                <a:cubicBezTo>
                  <a:pt x="277" y="74"/>
                  <a:pt x="277" y="74"/>
                  <a:pt x="277" y="74"/>
                </a:cubicBezTo>
                <a:cubicBezTo>
                  <a:pt x="298" y="74"/>
                  <a:pt x="298" y="74"/>
                  <a:pt x="298" y="74"/>
                </a:cubicBezTo>
                <a:cubicBezTo>
                  <a:pt x="298" y="117"/>
                  <a:pt x="298" y="117"/>
                  <a:pt x="298" y="117"/>
                </a:cubicBezTo>
                <a:cubicBezTo>
                  <a:pt x="298" y="123"/>
                  <a:pt x="303" y="128"/>
                  <a:pt x="309" y="128"/>
                </a:cubicBezTo>
                <a:cubicBezTo>
                  <a:pt x="315" y="128"/>
                  <a:pt x="320" y="123"/>
                  <a:pt x="320" y="117"/>
                </a:cubicBezTo>
                <a:cubicBezTo>
                  <a:pt x="320" y="64"/>
                  <a:pt x="320" y="64"/>
                  <a:pt x="320" y="64"/>
                </a:cubicBezTo>
                <a:cubicBezTo>
                  <a:pt x="320" y="58"/>
                  <a:pt x="315" y="53"/>
                  <a:pt x="309" y="53"/>
                </a:cubicBezTo>
                <a:close/>
                <a:moveTo>
                  <a:pt x="64" y="106"/>
                </a:moveTo>
                <a:cubicBezTo>
                  <a:pt x="40" y="106"/>
                  <a:pt x="21" y="87"/>
                  <a:pt x="21" y="64"/>
                </a:cubicBezTo>
                <a:cubicBezTo>
                  <a:pt x="21" y="40"/>
                  <a:pt x="40" y="21"/>
                  <a:pt x="64" y="21"/>
                </a:cubicBezTo>
                <a:cubicBezTo>
                  <a:pt x="87" y="21"/>
                  <a:pt x="106" y="40"/>
                  <a:pt x="106" y="64"/>
                </a:cubicBezTo>
                <a:cubicBezTo>
                  <a:pt x="106" y="87"/>
                  <a:pt x="87" y="106"/>
                  <a:pt x="64" y="106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1" name="Google Shape;141;p2"/>
          <p:cNvSpPr/>
          <p:nvPr/>
        </p:nvSpPr>
        <p:spPr>
          <a:xfrm>
            <a:off x="9180546" y="3203207"/>
            <a:ext cx="281541" cy="246378"/>
          </a:xfrm>
          <a:custGeom>
            <a:avLst/>
            <a:gdLst/>
            <a:ahLst/>
            <a:cxnLst/>
            <a:rect l="l" t="t" r="r" b="b"/>
            <a:pathLst>
              <a:path w="321" h="310" extrusionOk="0">
                <a:moveTo>
                  <a:pt x="257" y="309"/>
                </a:moveTo>
                <a:cubicBezTo>
                  <a:pt x="255" y="309"/>
                  <a:pt x="253" y="309"/>
                  <a:pt x="251" y="308"/>
                </a:cubicBezTo>
                <a:cubicBezTo>
                  <a:pt x="161" y="257"/>
                  <a:pt x="161" y="257"/>
                  <a:pt x="161" y="257"/>
                </a:cubicBezTo>
                <a:cubicBezTo>
                  <a:pt x="70" y="308"/>
                  <a:pt x="70" y="308"/>
                  <a:pt x="70" y="308"/>
                </a:cubicBezTo>
                <a:cubicBezTo>
                  <a:pt x="66" y="310"/>
                  <a:pt x="62" y="309"/>
                  <a:pt x="58" y="307"/>
                </a:cubicBezTo>
                <a:cubicBezTo>
                  <a:pt x="55" y="305"/>
                  <a:pt x="53" y="300"/>
                  <a:pt x="54" y="296"/>
                </a:cubicBezTo>
                <a:cubicBezTo>
                  <a:pt x="74" y="195"/>
                  <a:pt x="74" y="195"/>
                  <a:pt x="74" y="195"/>
                </a:cubicBezTo>
                <a:cubicBezTo>
                  <a:pt x="4" y="125"/>
                  <a:pt x="4" y="125"/>
                  <a:pt x="4" y="125"/>
                </a:cubicBezTo>
                <a:cubicBezTo>
                  <a:pt x="1" y="122"/>
                  <a:pt x="0" y="117"/>
                  <a:pt x="1" y="113"/>
                </a:cubicBezTo>
                <a:cubicBezTo>
                  <a:pt x="3" y="110"/>
                  <a:pt x="6" y="107"/>
                  <a:pt x="10" y="106"/>
                </a:cubicBezTo>
                <a:cubicBezTo>
                  <a:pt x="111" y="96"/>
                  <a:pt x="111" y="96"/>
                  <a:pt x="111" y="96"/>
                </a:cubicBezTo>
                <a:cubicBezTo>
                  <a:pt x="151" y="6"/>
                  <a:pt x="151" y="6"/>
                  <a:pt x="151" y="6"/>
                </a:cubicBezTo>
                <a:cubicBezTo>
                  <a:pt x="153" y="2"/>
                  <a:pt x="156" y="0"/>
                  <a:pt x="161" y="0"/>
                </a:cubicBezTo>
                <a:cubicBezTo>
                  <a:pt x="165" y="0"/>
                  <a:pt x="169" y="2"/>
                  <a:pt x="170" y="6"/>
                </a:cubicBezTo>
                <a:cubicBezTo>
                  <a:pt x="211" y="96"/>
                  <a:pt x="211" y="96"/>
                  <a:pt x="211" y="96"/>
                </a:cubicBezTo>
                <a:cubicBezTo>
                  <a:pt x="311" y="106"/>
                  <a:pt x="311" y="106"/>
                  <a:pt x="311" y="106"/>
                </a:cubicBezTo>
                <a:cubicBezTo>
                  <a:pt x="315" y="107"/>
                  <a:pt x="319" y="110"/>
                  <a:pt x="320" y="113"/>
                </a:cubicBezTo>
                <a:cubicBezTo>
                  <a:pt x="321" y="117"/>
                  <a:pt x="320" y="122"/>
                  <a:pt x="318" y="125"/>
                </a:cubicBezTo>
                <a:cubicBezTo>
                  <a:pt x="247" y="195"/>
                  <a:pt x="247" y="195"/>
                  <a:pt x="247" y="195"/>
                </a:cubicBezTo>
                <a:cubicBezTo>
                  <a:pt x="267" y="296"/>
                  <a:pt x="267" y="296"/>
                  <a:pt x="267" y="296"/>
                </a:cubicBezTo>
                <a:cubicBezTo>
                  <a:pt x="268" y="300"/>
                  <a:pt x="266" y="305"/>
                  <a:pt x="263" y="307"/>
                </a:cubicBezTo>
                <a:cubicBezTo>
                  <a:pt x="261" y="308"/>
                  <a:pt x="259" y="309"/>
                  <a:pt x="257" y="309"/>
                </a:cubicBezTo>
                <a:close/>
                <a:moveTo>
                  <a:pt x="161" y="234"/>
                </a:moveTo>
                <a:cubicBezTo>
                  <a:pt x="162" y="234"/>
                  <a:pt x="164" y="235"/>
                  <a:pt x="166" y="236"/>
                </a:cubicBezTo>
                <a:cubicBezTo>
                  <a:pt x="242" y="278"/>
                  <a:pt x="242" y="278"/>
                  <a:pt x="242" y="278"/>
                </a:cubicBezTo>
                <a:cubicBezTo>
                  <a:pt x="225" y="194"/>
                  <a:pt x="225" y="194"/>
                  <a:pt x="225" y="194"/>
                </a:cubicBezTo>
                <a:cubicBezTo>
                  <a:pt x="224" y="190"/>
                  <a:pt x="225" y="187"/>
                  <a:pt x="228" y="184"/>
                </a:cubicBezTo>
                <a:cubicBezTo>
                  <a:pt x="287" y="125"/>
                  <a:pt x="287" y="125"/>
                  <a:pt x="287" y="125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198" y="117"/>
                  <a:pt x="195" y="114"/>
                  <a:pt x="194" y="111"/>
                </a:cubicBezTo>
                <a:cubicBezTo>
                  <a:pt x="161" y="37"/>
                  <a:pt x="161" y="37"/>
                  <a:pt x="161" y="37"/>
                </a:cubicBezTo>
                <a:cubicBezTo>
                  <a:pt x="128" y="111"/>
                  <a:pt x="128" y="111"/>
                  <a:pt x="128" y="111"/>
                </a:cubicBezTo>
                <a:cubicBezTo>
                  <a:pt x="126" y="114"/>
                  <a:pt x="123" y="117"/>
                  <a:pt x="119" y="117"/>
                </a:cubicBezTo>
                <a:cubicBezTo>
                  <a:pt x="35" y="125"/>
                  <a:pt x="35" y="125"/>
                  <a:pt x="35" y="125"/>
                </a:cubicBezTo>
                <a:cubicBezTo>
                  <a:pt x="94" y="184"/>
                  <a:pt x="94" y="184"/>
                  <a:pt x="94" y="184"/>
                </a:cubicBezTo>
                <a:cubicBezTo>
                  <a:pt x="96" y="187"/>
                  <a:pt x="97" y="190"/>
                  <a:pt x="96" y="194"/>
                </a:cubicBezTo>
                <a:cubicBezTo>
                  <a:pt x="80" y="278"/>
                  <a:pt x="80" y="278"/>
                  <a:pt x="80" y="278"/>
                </a:cubicBezTo>
                <a:cubicBezTo>
                  <a:pt x="155" y="236"/>
                  <a:pt x="155" y="236"/>
                  <a:pt x="155" y="236"/>
                </a:cubicBezTo>
                <a:cubicBezTo>
                  <a:pt x="157" y="235"/>
                  <a:pt x="159" y="234"/>
                  <a:pt x="161" y="234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" name="Google Shape;142;p2"/>
          <p:cNvSpPr/>
          <p:nvPr/>
        </p:nvSpPr>
        <p:spPr>
          <a:xfrm>
            <a:off x="8036287" y="3095843"/>
            <a:ext cx="493230" cy="479271"/>
          </a:xfrm>
          <a:custGeom>
            <a:avLst/>
            <a:gdLst/>
            <a:ahLst/>
            <a:cxnLst/>
            <a:rect l="l" t="t" r="r" b="b"/>
            <a:pathLst>
              <a:path w="320" h="310" extrusionOk="0">
                <a:moveTo>
                  <a:pt x="254" y="161"/>
                </a:moveTo>
                <a:cubicBezTo>
                  <a:pt x="251" y="159"/>
                  <a:pt x="247" y="158"/>
                  <a:pt x="244" y="160"/>
                </a:cubicBezTo>
                <a:cubicBezTo>
                  <a:pt x="198" y="179"/>
                  <a:pt x="198" y="179"/>
                  <a:pt x="198" y="179"/>
                </a:cubicBezTo>
                <a:cubicBezTo>
                  <a:pt x="194" y="181"/>
                  <a:pt x="192" y="185"/>
                  <a:pt x="192" y="189"/>
                </a:cubicBezTo>
                <a:cubicBezTo>
                  <a:pt x="192" y="235"/>
                  <a:pt x="192" y="235"/>
                  <a:pt x="192" y="235"/>
                </a:cubicBezTo>
                <a:cubicBezTo>
                  <a:pt x="192" y="239"/>
                  <a:pt x="193" y="242"/>
                  <a:pt x="196" y="244"/>
                </a:cubicBezTo>
                <a:cubicBezTo>
                  <a:pt x="198" y="245"/>
                  <a:pt x="200" y="246"/>
                  <a:pt x="202" y="246"/>
                </a:cubicBezTo>
                <a:cubicBezTo>
                  <a:pt x="204" y="246"/>
                  <a:pt x="205" y="245"/>
                  <a:pt x="207" y="245"/>
                </a:cubicBezTo>
                <a:cubicBezTo>
                  <a:pt x="252" y="225"/>
                  <a:pt x="252" y="225"/>
                  <a:pt x="252" y="225"/>
                </a:cubicBezTo>
                <a:cubicBezTo>
                  <a:pt x="256" y="223"/>
                  <a:pt x="259" y="220"/>
                  <a:pt x="259" y="215"/>
                </a:cubicBezTo>
                <a:cubicBezTo>
                  <a:pt x="259" y="169"/>
                  <a:pt x="259" y="169"/>
                  <a:pt x="259" y="169"/>
                </a:cubicBezTo>
                <a:cubicBezTo>
                  <a:pt x="259" y="166"/>
                  <a:pt x="257" y="163"/>
                  <a:pt x="254" y="161"/>
                </a:cubicBezTo>
                <a:close/>
                <a:moveTo>
                  <a:pt x="238" y="208"/>
                </a:moveTo>
                <a:cubicBezTo>
                  <a:pt x="213" y="219"/>
                  <a:pt x="213" y="219"/>
                  <a:pt x="213" y="219"/>
                </a:cubicBezTo>
                <a:cubicBezTo>
                  <a:pt x="213" y="196"/>
                  <a:pt x="213" y="196"/>
                  <a:pt x="213" y="196"/>
                </a:cubicBezTo>
                <a:cubicBezTo>
                  <a:pt x="238" y="186"/>
                  <a:pt x="238" y="186"/>
                  <a:pt x="238" y="186"/>
                </a:cubicBezTo>
                <a:lnTo>
                  <a:pt x="238" y="208"/>
                </a:lnTo>
                <a:close/>
                <a:moveTo>
                  <a:pt x="313" y="65"/>
                </a:moveTo>
                <a:cubicBezTo>
                  <a:pt x="164" y="1"/>
                  <a:pt x="164" y="1"/>
                  <a:pt x="164" y="1"/>
                </a:cubicBezTo>
                <a:cubicBezTo>
                  <a:pt x="161" y="0"/>
                  <a:pt x="158" y="0"/>
                  <a:pt x="155" y="1"/>
                </a:cubicBezTo>
                <a:cubicBezTo>
                  <a:pt x="6" y="65"/>
                  <a:pt x="6" y="65"/>
                  <a:pt x="6" y="65"/>
                </a:cubicBezTo>
                <a:cubicBezTo>
                  <a:pt x="6" y="65"/>
                  <a:pt x="6" y="65"/>
                  <a:pt x="6" y="65"/>
                </a:cubicBezTo>
                <a:cubicBezTo>
                  <a:pt x="6" y="65"/>
                  <a:pt x="6" y="65"/>
                  <a:pt x="6" y="65"/>
                </a:cubicBezTo>
                <a:cubicBezTo>
                  <a:pt x="6" y="65"/>
                  <a:pt x="6" y="65"/>
                  <a:pt x="6" y="65"/>
                </a:cubicBezTo>
                <a:cubicBezTo>
                  <a:pt x="2" y="67"/>
                  <a:pt x="0" y="71"/>
                  <a:pt x="0" y="75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228"/>
                  <a:pt x="2" y="232"/>
                  <a:pt x="6" y="234"/>
                </a:cubicBezTo>
                <a:cubicBezTo>
                  <a:pt x="155" y="309"/>
                  <a:pt x="155" y="309"/>
                  <a:pt x="155" y="309"/>
                </a:cubicBezTo>
                <a:cubicBezTo>
                  <a:pt x="156" y="309"/>
                  <a:pt x="158" y="310"/>
                  <a:pt x="160" y="310"/>
                </a:cubicBezTo>
                <a:cubicBezTo>
                  <a:pt x="160" y="310"/>
                  <a:pt x="160" y="310"/>
                  <a:pt x="160" y="310"/>
                </a:cubicBezTo>
                <a:cubicBezTo>
                  <a:pt x="160" y="310"/>
                  <a:pt x="160" y="310"/>
                  <a:pt x="160" y="310"/>
                </a:cubicBezTo>
                <a:cubicBezTo>
                  <a:pt x="160" y="310"/>
                  <a:pt x="160" y="310"/>
                  <a:pt x="160" y="310"/>
                </a:cubicBezTo>
                <a:cubicBezTo>
                  <a:pt x="161" y="310"/>
                  <a:pt x="162" y="309"/>
                  <a:pt x="163" y="309"/>
                </a:cubicBezTo>
                <a:cubicBezTo>
                  <a:pt x="164" y="309"/>
                  <a:pt x="164" y="309"/>
                  <a:pt x="164" y="309"/>
                </a:cubicBezTo>
                <a:cubicBezTo>
                  <a:pt x="313" y="245"/>
                  <a:pt x="313" y="245"/>
                  <a:pt x="313" y="245"/>
                </a:cubicBezTo>
                <a:cubicBezTo>
                  <a:pt x="317" y="243"/>
                  <a:pt x="320" y="239"/>
                  <a:pt x="320" y="235"/>
                </a:cubicBezTo>
                <a:cubicBezTo>
                  <a:pt x="320" y="75"/>
                  <a:pt x="320" y="75"/>
                  <a:pt x="320" y="75"/>
                </a:cubicBezTo>
                <a:cubicBezTo>
                  <a:pt x="320" y="71"/>
                  <a:pt x="317" y="67"/>
                  <a:pt x="313" y="65"/>
                </a:cubicBezTo>
                <a:close/>
                <a:moveTo>
                  <a:pt x="160" y="127"/>
                </a:moveTo>
                <a:cubicBezTo>
                  <a:pt x="112" y="107"/>
                  <a:pt x="112" y="107"/>
                  <a:pt x="112" y="107"/>
                </a:cubicBezTo>
                <a:cubicBezTo>
                  <a:pt x="234" y="55"/>
                  <a:pt x="234" y="55"/>
                  <a:pt x="234" y="55"/>
                </a:cubicBezTo>
                <a:cubicBezTo>
                  <a:pt x="282" y="75"/>
                  <a:pt x="282" y="75"/>
                  <a:pt x="282" y="75"/>
                </a:cubicBezTo>
                <a:lnTo>
                  <a:pt x="160" y="127"/>
                </a:lnTo>
                <a:close/>
                <a:moveTo>
                  <a:pt x="160" y="23"/>
                </a:moveTo>
                <a:cubicBezTo>
                  <a:pt x="207" y="43"/>
                  <a:pt x="207" y="43"/>
                  <a:pt x="207" y="43"/>
                </a:cubicBezTo>
                <a:cubicBezTo>
                  <a:pt x="85" y="95"/>
                  <a:pt x="85" y="95"/>
                  <a:pt x="85" y="95"/>
                </a:cubicBezTo>
                <a:cubicBezTo>
                  <a:pt x="37" y="75"/>
                  <a:pt x="37" y="75"/>
                  <a:pt x="37" y="75"/>
                </a:cubicBezTo>
                <a:lnTo>
                  <a:pt x="160" y="23"/>
                </a:lnTo>
                <a:close/>
                <a:moveTo>
                  <a:pt x="21" y="218"/>
                </a:moveTo>
                <a:cubicBezTo>
                  <a:pt x="21" y="91"/>
                  <a:pt x="21" y="91"/>
                  <a:pt x="21" y="91"/>
                </a:cubicBezTo>
                <a:cubicBezTo>
                  <a:pt x="149" y="146"/>
                  <a:pt x="149" y="146"/>
                  <a:pt x="149" y="146"/>
                </a:cubicBezTo>
                <a:cubicBezTo>
                  <a:pt x="149" y="282"/>
                  <a:pt x="149" y="282"/>
                  <a:pt x="149" y="282"/>
                </a:cubicBezTo>
                <a:lnTo>
                  <a:pt x="21" y="218"/>
                </a:lnTo>
                <a:close/>
                <a:moveTo>
                  <a:pt x="170" y="283"/>
                </a:moveTo>
                <a:cubicBezTo>
                  <a:pt x="170" y="146"/>
                  <a:pt x="170" y="146"/>
                  <a:pt x="170" y="146"/>
                </a:cubicBezTo>
                <a:cubicBezTo>
                  <a:pt x="298" y="91"/>
                  <a:pt x="298" y="91"/>
                  <a:pt x="298" y="91"/>
                </a:cubicBezTo>
                <a:cubicBezTo>
                  <a:pt x="298" y="117"/>
                  <a:pt x="298" y="228"/>
                  <a:pt x="298" y="228"/>
                </a:cubicBezTo>
                <a:lnTo>
                  <a:pt x="170" y="283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" name="Google Shape;143;p2"/>
          <p:cNvSpPr/>
          <p:nvPr/>
        </p:nvSpPr>
        <p:spPr>
          <a:xfrm>
            <a:off x="10141734" y="3180965"/>
            <a:ext cx="449187" cy="298752"/>
          </a:xfrm>
          <a:custGeom>
            <a:avLst/>
            <a:gdLst/>
            <a:ahLst/>
            <a:cxnLst/>
            <a:rect l="l" t="t" r="r" b="b"/>
            <a:pathLst>
              <a:path w="320" h="213" extrusionOk="0">
                <a:moveTo>
                  <a:pt x="64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70"/>
                  <a:pt x="4" y="75"/>
                  <a:pt x="10" y="75"/>
                </a:cubicBezTo>
                <a:cubicBezTo>
                  <a:pt x="64" y="75"/>
                  <a:pt x="64" y="75"/>
                  <a:pt x="64" y="75"/>
                </a:cubicBezTo>
                <a:cubicBezTo>
                  <a:pt x="70" y="75"/>
                  <a:pt x="74" y="70"/>
                  <a:pt x="74" y="64"/>
                </a:cubicBezTo>
                <a:cubicBezTo>
                  <a:pt x="74" y="11"/>
                  <a:pt x="74" y="11"/>
                  <a:pt x="74" y="11"/>
                </a:cubicBezTo>
                <a:cubicBezTo>
                  <a:pt x="74" y="5"/>
                  <a:pt x="70" y="0"/>
                  <a:pt x="64" y="0"/>
                </a:cubicBezTo>
                <a:close/>
                <a:moveTo>
                  <a:pt x="53" y="53"/>
                </a:moveTo>
                <a:cubicBezTo>
                  <a:pt x="21" y="53"/>
                  <a:pt x="21" y="53"/>
                  <a:pt x="21" y="53"/>
                </a:cubicBezTo>
                <a:cubicBezTo>
                  <a:pt x="21" y="21"/>
                  <a:pt x="21" y="21"/>
                  <a:pt x="21" y="21"/>
                </a:cubicBezTo>
                <a:cubicBezTo>
                  <a:pt x="53" y="21"/>
                  <a:pt x="53" y="21"/>
                  <a:pt x="53" y="21"/>
                </a:cubicBezTo>
                <a:lnTo>
                  <a:pt x="53" y="53"/>
                </a:lnTo>
                <a:close/>
                <a:moveTo>
                  <a:pt x="117" y="11"/>
                </a:moveTo>
                <a:cubicBezTo>
                  <a:pt x="117" y="5"/>
                  <a:pt x="122" y="0"/>
                  <a:pt x="128" y="0"/>
                </a:cubicBezTo>
                <a:cubicBezTo>
                  <a:pt x="309" y="0"/>
                  <a:pt x="309" y="0"/>
                  <a:pt x="309" y="0"/>
                </a:cubicBezTo>
                <a:cubicBezTo>
                  <a:pt x="315" y="0"/>
                  <a:pt x="320" y="5"/>
                  <a:pt x="320" y="11"/>
                </a:cubicBezTo>
                <a:cubicBezTo>
                  <a:pt x="320" y="17"/>
                  <a:pt x="315" y="21"/>
                  <a:pt x="309" y="21"/>
                </a:cubicBezTo>
                <a:cubicBezTo>
                  <a:pt x="128" y="21"/>
                  <a:pt x="128" y="21"/>
                  <a:pt x="128" y="21"/>
                </a:cubicBezTo>
                <a:cubicBezTo>
                  <a:pt x="122" y="21"/>
                  <a:pt x="117" y="17"/>
                  <a:pt x="117" y="11"/>
                </a:cubicBezTo>
                <a:close/>
                <a:moveTo>
                  <a:pt x="320" y="64"/>
                </a:moveTo>
                <a:cubicBezTo>
                  <a:pt x="320" y="70"/>
                  <a:pt x="315" y="75"/>
                  <a:pt x="309" y="75"/>
                </a:cubicBezTo>
                <a:cubicBezTo>
                  <a:pt x="128" y="75"/>
                  <a:pt x="128" y="75"/>
                  <a:pt x="128" y="75"/>
                </a:cubicBezTo>
                <a:cubicBezTo>
                  <a:pt x="122" y="75"/>
                  <a:pt x="117" y="70"/>
                  <a:pt x="117" y="64"/>
                </a:cubicBezTo>
                <a:cubicBezTo>
                  <a:pt x="117" y="58"/>
                  <a:pt x="122" y="53"/>
                  <a:pt x="128" y="53"/>
                </a:cubicBezTo>
                <a:cubicBezTo>
                  <a:pt x="309" y="53"/>
                  <a:pt x="309" y="53"/>
                  <a:pt x="309" y="53"/>
                </a:cubicBezTo>
                <a:cubicBezTo>
                  <a:pt x="315" y="53"/>
                  <a:pt x="320" y="58"/>
                  <a:pt x="320" y="64"/>
                </a:cubicBezTo>
                <a:close/>
                <a:moveTo>
                  <a:pt x="64" y="139"/>
                </a:moveTo>
                <a:cubicBezTo>
                  <a:pt x="10" y="139"/>
                  <a:pt x="10" y="139"/>
                  <a:pt x="10" y="139"/>
                </a:cubicBezTo>
                <a:cubicBezTo>
                  <a:pt x="4" y="139"/>
                  <a:pt x="0" y="143"/>
                  <a:pt x="0" y="149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209"/>
                  <a:pt x="4" y="213"/>
                  <a:pt x="10" y="213"/>
                </a:cubicBezTo>
                <a:cubicBezTo>
                  <a:pt x="64" y="213"/>
                  <a:pt x="64" y="213"/>
                  <a:pt x="64" y="213"/>
                </a:cubicBezTo>
                <a:cubicBezTo>
                  <a:pt x="70" y="213"/>
                  <a:pt x="74" y="209"/>
                  <a:pt x="74" y="203"/>
                </a:cubicBezTo>
                <a:cubicBezTo>
                  <a:pt x="74" y="149"/>
                  <a:pt x="74" y="149"/>
                  <a:pt x="74" y="149"/>
                </a:cubicBezTo>
                <a:cubicBezTo>
                  <a:pt x="74" y="143"/>
                  <a:pt x="70" y="139"/>
                  <a:pt x="64" y="139"/>
                </a:cubicBezTo>
                <a:close/>
                <a:moveTo>
                  <a:pt x="53" y="192"/>
                </a:moveTo>
                <a:cubicBezTo>
                  <a:pt x="21" y="192"/>
                  <a:pt x="21" y="192"/>
                  <a:pt x="21" y="192"/>
                </a:cubicBezTo>
                <a:cubicBezTo>
                  <a:pt x="21" y="160"/>
                  <a:pt x="21" y="160"/>
                  <a:pt x="21" y="160"/>
                </a:cubicBezTo>
                <a:cubicBezTo>
                  <a:pt x="53" y="160"/>
                  <a:pt x="53" y="160"/>
                  <a:pt x="53" y="160"/>
                </a:cubicBezTo>
                <a:lnTo>
                  <a:pt x="53" y="192"/>
                </a:lnTo>
                <a:close/>
                <a:moveTo>
                  <a:pt x="320" y="149"/>
                </a:moveTo>
                <a:cubicBezTo>
                  <a:pt x="320" y="155"/>
                  <a:pt x="315" y="160"/>
                  <a:pt x="309" y="160"/>
                </a:cubicBezTo>
                <a:cubicBezTo>
                  <a:pt x="128" y="160"/>
                  <a:pt x="128" y="160"/>
                  <a:pt x="128" y="160"/>
                </a:cubicBezTo>
                <a:cubicBezTo>
                  <a:pt x="122" y="160"/>
                  <a:pt x="117" y="155"/>
                  <a:pt x="117" y="149"/>
                </a:cubicBezTo>
                <a:cubicBezTo>
                  <a:pt x="117" y="143"/>
                  <a:pt x="122" y="139"/>
                  <a:pt x="128" y="139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15" y="139"/>
                  <a:pt x="320" y="143"/>
                  <a:pt x="320" y="149"/>
                </a:cubicBezTo>
                <a:close/>
                <a:moveTo>
                  <a:pt x="320" y="203"/>
                </a:moveTo>
                <a:cubicBezTo>
                  <a:pt x="320" y="209"/>
                  <a:pt x="315" y="213"/>
                  <a:pt x="309" y="213"/>
                </a:cubicBezTo>
                <a:cubicBezTo>
                  <a:pt x="128" y="213"/>
                  <a:pt x="128" y="213"/>
                  <a:pt x="128" y="213"/>
                </a:cubicBezTo>
                <a:cubicBezTo>
                  <a:pt x="122" y="213"/>
                  <a:pt x="117" y="209"/>
                  <a:pt x="117" y="203"/>
                </a:cubicBezTo>
                <a:cubicBezTo>
                  <a:pt x="117" y="197"/>
                  <a:pt x="122" y="192"/>
                  <a:pt x="128" y="192"/>
                </a:cubicBezTo>
                <a:cubicBezTo>
                  <a:pt x="309" y="192"/>
                  <a:pt x="309" y="192"/>
                  <a:pt x="309" y="192"/>
                </a:cubicBezTo>
                <a:cubicBezTo>
                  <a:pt x="315" y="192"/>
                  <a:pt x="320" y="197"/>
                  <a:pt x="320" y="203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" name="Google Shape;144;p2"/>
          <p:cNvSpPr txBox="1"/>
          <p:nvPr/>
        </p:nvSpPr>
        <p:spPr>
          <a:xfrm>
            <a:off x="324180" y="4243678"/>
            <a:ext cx="918409" cy="878126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chemeClr val="accen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iming</a:t>
            </a:r>
            <a:endParaRPr sz="14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45" name="Google Shape;145;p2"/>
          <p:cNvGraphicFramePr/>
          <p:nvPr>
            <p:extLst>
              <p:ext uri="{D42A27DB-BD31-4B8C-83A1-F6EECF244321}">
                <p14:modId xmlns:p14="http://schemas.microsoft.com/office/powerpoint/2010/main" val="821343619"/>
              </p:ext>
            </p:extLst>
          </p:nvPr>
        </p:nvGraphicFramePr>
        <p:xfrm>
          <a:off x="1022396" y="5170843"/>
          <a:ext cx="10332700" cy="87812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0883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83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83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88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9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7812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100" b="0" i="1" u="none" strike="noStrike" cap="none" dirty="0">
                          <a:solidFill>
                            <a:srgbClr val="56678C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Internal club’s documents or drive, timing, codes, approvals, etc.</a:t>
                      </a:r>
                      <a:endParaRPr sz="1100" b="0" i="1" u="none" strike="noStrike" cap="none" dirty="0">
                        <a:solidFill>
                          <a:srgbClr val="56678C"/>
                        </a:solidFill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274325" marR="274325" marT="45725" marB="45725" anchor="ctr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100" b="0" i="1" u="none" strike="noStrike" cap="none">
                          <a:solidFill>
                            <a:srgbClr val="56678C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Finance Code Request Form </a:t>
                      </a:r>
                      <a:endParaRPr sz="1100" b="0" i="1" u="none" strike="noStrike" cap="none">
                        <a:solidFill>
                          <a:srgbClr val="56678C"/>
                        </a:solidFill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274325" marR="274325" marT="45725" marB="45725" anchor="ctr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100" b="0" i="1" u="none" strike="noStrike" cap="none">
                          <a:solidFill>
                            <a:srgbClr val="56678C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ponsorship Template Contract &amp; Info Form</a:t>
                      </a:r>
                      <a:endParaRPr sz="1100" b="0" i="1" u="none" strike="noStrike" cap="none">
                        <a:solidFill>
                          <a:srgbClr val="56678C"/>
                        </a:solidFill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274325" marR="274325" marT="45725" marB="45725" anchor="ctr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100" b="0" i="1" u="none" strike="noStrike" cap="none">
                          <a:solidFill>
                            <a:srgbClr val="56678C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upplier Payment Guidelines &amp; Info Form</a:t>
                      </a:r>
                      <a:endParaRPr sz="1100" b="0" i="1" u="none" strike="noStrike" cap="none">
                        <a:solidFill>
                          <a:srgbClr val="56678C"/>
                        </a:solidFill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274325" marR="274325" marT="45725" marB="45725" anchor="ctr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100" b="0" i="1" u="none" strike="noStrike" cap="none" dirty="0">
                          <a:solidFill>
                            <a:srgbClr val="56678C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Reimbursement Request Form; Set-up directions</a:t>
                      </a:r>
                      <a:endParaRPr sz="1100" b="0" i="1" u="none" strike="noStrike" cap="none" dirty="0">
                        <a:solidFill>
                          <a:srgbClr val="56678C"/>
                        </a:solidFill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274325" marR="274325" marT="45725" marB="45725" anchor="ctr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46" name="Google Shape;146;p2"/>
          <p:cNvSpPr txBox="1"/>
          <p:nvPr/>
        </p:nvSpPr>
        <p:spPr>
          <a:xfrm>
            <a:off x="297976" y="5383852"/>
            <a:ext cx="970816" cy="49567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1" u="none" strike="noStrike" cap="none">
                <a:solidFill>
                  <a:srgbClr val="56678C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ools</a:t>
            </a:r>
            <a:endParaRPr sz="1400" b="0" i="1" u="none" strike="noStrike" cap="none">
              <a:solidFill>
                <a:srgbClr val="56678C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3"/>
          <p:cNvSpPr/>
          <p:nvPr/>
        </p:nvSpPr>
        <p:spPr>
          <a:xfrm>
            <a:off x="7658497" y="4918191"/>
            <a:ext cx="3910637" cy="170530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Google Shape;152;p3"/>
          <p:cNvSpPr txBox="1">
            <a:spLocks noGrp="1"/>
          </p:cNvSpPr>
          <p:nvPr>
            <p:ph type="sldNum" idx="12"/>
          </p:nvPr>
        </p:nvSpPr>
        <p:spPr>
          <a:xfrm>
            <a:off x="10885800" y="6303993"/>
            <a:ext cx="468000" cy="324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  <p:grpSp>
        <p:nvGrpSpPr>
          <p:cNvPr id="153" name="Google Shape;153;p3"/>
          <p:cNvGrpSpPr/>
          <p:nvPr/>
        </p:nvGrpSpPr>
        <p:grpSpPr>
          <a:xfrm>
            <a:off x="11523627" y="151464"/>
            <a:ext cx="463899" cy="463899"/>
            <a:chOff x="1542871" y="2832253"/>
            <a:chExt cx="994410" cy="994410"/>
          </a:xfrm>
        </p:grpSpPr>
        <p:sp>
          <p:nvSpPr>
            <p:cNvPr id="154" name="Google Shape;154;p3"/>
            <p:cNvSpPr/>
            <p:nvPr/>
          </p:nvSpPr>
          <p:spPr>
            <a:xfrm>
              <a:off x="1542871" y="2832253"/>
              <a:ext cx="994410" cy="994410"/>
            </a:xfrm>
            <a:prstGeom prst="ellipse">
              <a:avLst/>
            </a:prstGeom>
            <a:solidFill>
              <a:schemeClr val="accent1"/>
            </a:solidFill>
            <a:ln w="9525" cap="flat" cmpd="sng">
              <a:solidFill>
                <a:srgbClr val="00154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" name="Google Shape;155;p3"/>
            <p:cNvSpPr/>
            <p:nvPr/>
          </p:nvSpPr>
          <p:spPr>
            <a:xfrm>
              <a:off x="1874824" y="3098281"/>
              <a:ext cx="336005" cy="490585"/>
            </a:xfrm>
            <a:custGeom>
              <a:avLst/>
              <a:gdLst/>
              <a:ahLst/>
              <a:cxnLst/>
              <a:rect l="l" t="t" r="r" b="b"/>
              <a:pathLst>
                <a:path w="199" h="320" extrusionOk="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cxnSp>
        <p:nvCxnSpPr>
          <p:cNvPr id="156" name="Google Shape;156;p3"/>
          <p:cNvCxnSpPr/>
          <p:nvPr/>
        </p:nvCxnSpPr>
        <p:spPr>
          <a:xfrm rot="10800000">
            <a:off x="467845" y="1425182"/>
            <a:ext cx="6541556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157" name="Google Shape;157;p3"/>
          <p:cNvSpPr/>
          <p:nvPr/>
        </p:nvSpPr>
        <p:spPr>
          <a:xfrm>
            <a:off x="1100642" y="1280601"/>
            <a:ext cx="5275962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Event Owner’s Action Items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158" name="Google Shape;158;p3"/>
          <p:cNvSpPr/>
          <p:nvPr/>
        </p:nvSpPr>
        <p:spPr>
          <a:xfrm>
            <a:off x="7683346" y="1280601"/>
            <a:ext cx="3885803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Why it’s Important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159" name="Google Shape;159;p3"/>
          <p:cNvSpPr/>
          <p:nvPr/>
        </p:nvSpPr>
        <p:spPr>
          <a:xfrm>
            <a:off x="7683346" y="2358237"/>
            <a:ext cx="3885803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ips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160" name="Google Shape;160;p3"/>
          <p:cNvSpPr/>
          <p:nvPr/>
        </p:nvSpPr>
        <p:spPr>
          <a:xfrm>
            <a:off x="7683345" y="4597600"/>
            <a:ext cx="3885803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 dirty="0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Suggested tool for Club </a:t>
            </a:r>
            <a:endParaRPr sz="1200" b="0" i="0" u="none" strike="noStrike" cap="none" dirty="0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cxnSp>
        <p:nvCxnSpPr>
          <p:cNvPr id="161" name="Google Shape;161;p3"/>
          <p:cNvCxnSpPr/>
          <p:nvPr/>
        </p:nvCxnSpPr>
        <p:spPr>
          <a:xfrm>
            <a:off x="7262263" y="1280601"/>
            <a:ext cx="0" cy="5023392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graphicFrame>
        <p:nvGraphicFramePr>
          <p:cNvPr id="162" name="Google Shape;162;p3"/>
          <p:cNvGraphicFramePr/>
          <p:nvPr>
            <p:extLst>
              <p:ext uri="{D42A27DB-BD31-4B8C-83A1-F6EECF244321}">
                <p14:modId xmlns:p14="http://schemas.microsoft.com/office/powerpoint/2010/main" val="1595960386"/>
              </p:ext>
            </p:extLst>
          </p:nvPr>
        </p:nvGraphicFramePr>
        <p:xfrm>
          <a:off x="559415" y="1928606"/>
          <a:ext cx="6358425" cy="2533650"/>
        </p:xfrm>
        <a:graphic>
          <a:graphicData uri="http://schemas.openxmlformats.org/drawingml/2006/table">
            <a:tbl>
              <a:tblPr firstRow="1">
                <a:noFill/>
              </a:tblPr>
              <a:tblGrid>
                <a:gridCol w="2776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01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018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7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5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#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ction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Owner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Timing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92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0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Gain approval for event from Presidents</a:t>
                      </a: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; copy Treasurer for background information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Event team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t least 3 weeks before event (earlier the better)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92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1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Document event in your internal </a:t>
                      </a:r>
                      <a:r>
                        <a:rPr lang="en-US" sz="1200" b="1" u="none" strike="noStrike" cap="none" dirty="0" err="1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GoogleDoc</a:t>
                      </a:r>
                      <a:r>
                        <a:rPr lang="en-US" sz="1200" b="1" u="none" strike="noStrike" cap="none" dirty="0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 </a:t>
                      </a:r>
                      <a:r>
                        <a:rPr lang="en-US" sz="1200" u="none" strike="noStrike" cap="none" dirty="0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listing estimated revenue, costs, date, and anticipated sponsorship monies</a:t>
                      </a:r>
                      <a:endParaRPr sz="1200" u="none" strike="noStrike" cap="none" dirty="0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Event team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t least 3 weeks before event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92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2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Notify Treasurer </a:t>
                      </a: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of line item addition via email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Event team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Upon posting to </a:t>
                      </a:r>
                      <a:r>
                        <a:rPr lang="en-US" sz="1200" u="none" strike="noStrike" cap="none" dirty="0" err="1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GoogleDoc</a:t>
                      </a:r>
                      <a:endParaRPr sz="1200" u="none" strike="noStrike" cap="none" dirty="0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63" name="Google Shape;163;p3"/>
          <p:cNvSpPr/>
          <p:nvPr/>
        </p:nvSpPr>
        <p:spPr>
          <a:xfrm>
            <a:off x="7683345" y="2678828"/>
            <a:ext cx="3885793" cy="901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Setup a </a:t>
            </a:r>
            <a:r>
              <a:rPr lang="en-US" sz="1200" b="0" i="1" u="none" strike="noStrike" cap="none" dirty="0" err="1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GoogleDoc</a:t>
            </a: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where you manage a </a:t>
            </a:r>
            <a:r>
              <a:rPr lang="en-US" sz="1200" i="1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list of your events </a:t>
            </a:r>
            <a:r>
              <a:rPr lang="en-US" sz="1200" i="1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and events / </a:t>
            </a:r>
            <a:r>
              <a:rPr lang="en-US" sz="1200" i="1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finance codes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Set a plan for your team </a:t>
            </a:r>
            <a:r>
              <a:rPr lang="en-US" sz="1200" b="1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per term </a:t>
            </a: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o increase visibility and proactivity. Outline the events you hope to host for the term and gain approval early.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Add events </a:t>
            </a:r>
            <a:r>
              <a:rPr lang="en-US" sz="1200" b="1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before </a:t>
            </a: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hey’re finalized – it’s okay to change details later! </a:t>
            </a:r>
            <a:r>
              <a:rPr lang="en-US" sz="1200" b="1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Most important part is getting the possible event on the radar</a:t>
            </a:r>
            <a:endParaRPr sz="1200" b="0" i="1" u="none" strike="noStrike" cap="none" dirty="0">
              <a:solidFill>
                <a:srgbClr val="00000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n-US" sz="1200" b="1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Outline expected costs so reimbursement is approved later</a:t>
            </a:r>
            <a:endParaRPr sz="12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" name="Google Shape;164;p3"/>
          <p:cNvSpPr/>
          <p:nvPr/>
        </p:nvSpPr>
        <p:spPr>
          <a:xfrm>
            <a:off x="7683345" y="1605721"/>
            <a:ext cx="3885793" cy="901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1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Documenting these events will help Treasury team stay ahead of deadlines and better support your team. 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5" name="Google Shape;165;p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981952" y="5041334"/>
            <a:ext cx="1662505" cy="1356818"/>
          </a:xfrm>
          <a:prstGeom prst="rect">
            <a:avLst/>
          </a:prstGeom>
          <a:noFill/>
          <a:ln w="9525" cap="flat" cmpd="sng">
            <a:solidFill>
              <a:srgbClr val="B1BAC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166" name="Google Shape;166;p3"/>
          <p:cNvSpPr/>
          <p:nvPr/>
        </p:nvSpPr>
        <p:spPr>
          <a:xfrm>
            <a:off x="9889771" y="5041334"/>
            <a:ext cx="2097755" cy="901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1" u="sng" strike="noStrike" cap="none" dirty="0">
                <a:solidFill>
                  <a:srgbClr val="C80F2E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Internal Event Management </a:t>
            </a:r>
            <a:r>
              <a:rPr lang="en-US" sz="1200" b="1" i="1" u="sng" strike="noStrike" cap="none" dirty="0" err="1">
                <a:solidFill>
                  <a:srgbClr val="C80F2E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GoogleDoc</a:t>
            </a:r>
            <a:endParaRPr sz="1200" b="1" i="0" u="none" strike="noStrike" cap="none" dirty="0">
              <a:solidFill>
                <a:srgbClr val="C80F2E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US" sz="1100" b="0" i="0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(insert link before sharing)</a:t>
            </a:r>
            <a:endParaRPr sz="1200" b="0" i="0" u="none" strike="noStrike" cap="none" dirty="0">
              <a:solidFill>
                <a:srgbClr val="00000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 dirty="0">
              <a:solidFill>
                <a:srgbClr val="00000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US" sz="1100" b="0" i="0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Fill in each column</a:t>
            </a:r>
            <a:endParaRPr sz="11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" name="Google Shape;167;p3"/>
          <p:cNvSpPr/>
          <p:nvPr/>
        </p:nvSpPr>
        <p:spPr>
          <a:xfrm rot="8850426">
            <a:off x="9912112" y="6211435"/>
            <a:ext cx="345441" cy="128869"/>
          </a:xfrm>
          <a:custGeom>
            <a:avLst/>
            <a:gdLst/>
            <a:ahLst/>
            <a:cxnLst/>
            <a:rect l="l" t="t" r="r" b="b"/>
            <a:pathLst>
              <a:path w="216" h="80" extrusionOk="0">
                <a:moveTo>
                  <a:pt x="212" y="22"/>
                </a:moveTo>
                <a:cubicBezTo>
                  <a:pt x="210" y="21"/>
                  <a:pt x="207" y="23"/>
                  <a:pt x="206" y="25"/>
                </a:cubicBezTo>
                <a:cubicBezTo>
                  <a:pt x="192" y="61"/>
                  <a:pt x="192" y="61"/>
                  <a:pt x="192" y="61"/>
                </a:cubicBezTo>
                <a:cubicBezTo>
                  <a:pt x="176" y="25"/>
                  <a:pt x="139" y="0"/>
                  <a:pt x="99" y="0"/>
                </a:cubicBezTo>
                <a:cubicBezTo>
                  <a:pt x="54" y="0"/>
                  <a:pt x="14" y="30"/>
                  <a:pt x="1" y="73"/>
                </a:cubicBezTo>
                <a:cubicBezTo>
                  <a:pt x="0" y="76"/>
                  <a:pt x="2" y="78"/>
                  <a:pt x="4" y="79"/>
                </a:cubicBezTo>
                <a:cubicBezTo>
                  <a:pt x="7" y="80"/>
                  <a:pt x="10" y="78"/>
                  <a:pt x="10" y="76"/>
                </a:cubicBezTo>
                <a:cubicBezTo>
                  <a:pt x="22" y="37"/>
                  <a:pt x="58" y="9"/>
                  <a:pt x="99" y="9"/>
                </a:cubicBezTo>
                <a:cubicBezTo>
                  <a:pt x="136" y="9"/>
                  <a:pt x="169" y="32"/>
                  <a:pt x="183" y="66"/>
                </a:cubicBezTo>
                <a:cubicBezTo>
                  <a:pt x="146" y="51"/>
                  <a:pt x="146" y="51"/>
                  <a:pt x="146" y="51"/>
                </a:cubicBezTo>
                <a:cubicBezTo>
                  <a:pt x="144" y="50"/>
                  <a:pt x="141" y="52"/>
                  <a:pt x="140" y="54"/>
                </a:cubicBezTo>
                <a:cubicBezTo>
                  <a:pt x="139" y="57"/>
                  <a:pt x="140" y="59"/>
                  <a:pt x="143" y="60"/>
                </a:cubicBezTo>
                <a:cubicBezTo>
                  <a:pt x="189" y="78"/>
                  <a:pt x="189" y="78"/>
                  <a:pt x="189" y="78"/>
                </a:cubicBezTo>
                <a:cubicBezTo>
                  <a:pt x="189" y="79"/>
                  <a:pt x="190" y="79"/>
                  <a:pt x="192" y="79"/>
                </a:cubicBezTo>
                <a:cubicBezTo>
                  <a:pt x="192" y="79"/>
                  <a:pt x="192" y="79"/>
                  <a:pt x="192" y="79"/>
                </a:cubicBezTo>
                <a:cubicBezTo>
                  <a:pt x="192" y="79"/>
                  <a:pt x="192" y="79"/>
                  <a:pt x="192" y="79"/>
                </a:cubicBezTo>
                <a:cubicBezTo>
                  <a:pt x="193" y="79"/>
                  <a:pt x="193" y="79"/>
                  <a:pt x="194" y="79"/>
                </a:cubicBezTo>
                <a:cubicBezTo>
                  <a:pt x="195" y="78"/>
                  <a:pt x="196" y="77"/>
                  <a:pt x="197" y="76"/>
                </a:cubicBezTo>
                <a:cubicBezTo>
                  <a:pt x="215" y="29"/>
                  <a:pt x="215" y="29"/>
                  <a:pt x="215" y="29"/>
                </a:cubicBezTo>
                <a:cubicBezTo>
                  <a:pt x="216" y="26"/>
                  <a:pt x="215" y="23"/>
                  <a:pt x="212" y="22"/>
                </a:cubicBezTo>
                <a:close/>
              </a:path>
            </a:pathLst>
          </a:custGeom>
          <a:solidFill>
            <a:srgbClr val="231F2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8" name="Google Shape;168;p3"/>
          <p:cNvSpPr txBox="1"/>
          <p:nvPr/>
        </p:nvSpPr>
        <p:spPr>
          <a:xfrm>
            <a:off x="3183070" y="243262"/>
            <a:ext cx="8172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Montserrat Light"/>
              <a:buNone/>
            </a:pPr>
            <a:r>
              <a:rPr lang="en-US" sz="2000" b="1" i="0" u="none" strike="noStrike" cap="none" dirty="0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DEVELOP EVENT IDEA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4"/>
          <p:cNvSpPr/>
          <p:nvPr/>
        </p:nvSpPr>
        <p:spPr>
          <a:xfrm>
            <a:off x="7658497" y="4918191"/>
            <a:ext cx="3910637" cy="170530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5" name="Google Shape;175;p4"/>
          <p:cNvSpPr txBox="1">
            <a:spLocks noGrp="1"/>
          </p:cNvSpPr>
          <p:nvPr>
            <p:ph type="sldNum" idx="12"/>
          </p:nvPr>
        </p:nvSpPr>
        <p:spPr>
          <a:xfrm>
            <a:off x="10885800" y="6303993"/>
            <a:ext cx="468000" cy="324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4</a:t>
            </a:fld>
            <a:endParaRPr/>
          </a:p>
        </p:txBody>
      </p:sp>
      <p:cxnSp>
        <p:nvCxnSpPr>
          <p:cNvPr id="176" name="Google Shape;176;p4"/>
          <p:cNvCxnSpPr/>
          <p:nvPr/>
        </p:nvCxnSpPr>
        <p:spPr>
          <a:xfrm rot="10800000">
            <a:off x="467845" y="1425182"/>
            <a:ext cx="6541556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177" name="Google Shape;177;p4"/>
          <p:cNvSpPr/>
          <p:nvPr/>
        </p:nvSpPr>
        <p:spPr>
          <a:xfrm>
            <a:off x="1100642" y="1280601"/>
            <a:ext cx="5275962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Event Owner’s Action Items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178" name="Google Shape;178;p4"/>
          <p:cNvSpPr/>
          <p:nvPr/>
        </p:nvSpPr>
        <p:spPr>
          <a:xfrm>
            <a:off x="7683346" y="1280601"/>
            <a:ext cx="3885803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Why it’s Important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179" name="Google Shape;179;p4"/>
          <p:cNvSpPr/>
          <p:nvPr/>
        </p:nvSpPr>
        <p:spPr>
          <a:xfrm>
            <a:off x="7683331" y="3842659"/>
            <a:ext cx="3885803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ips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180" name="Google Shape;180;p4"/>
          <p:cNvSpPr/>
          <p:nvPr/>
        </p:nvSpPr>
        <p:spPr>
          <a:xfrm>
            <a:off x="7683330" y="5015101"/>
            <a:ext cx="3885803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ool 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cxnSp>
        <p:nvCxnSpPr>
          <p:cNvPr id="181" name="Google Shape;181;p4"/>
          <p:cNvCxnSpPr/>
          <p:nvPr/>
        </p:nvCxnSpPr>
        <p:spPr>
          <a:xfrm>
            <a:off x="7262263" y="1280601"/>
            <a:ext cx="0" cy="5023392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graphicFrame>
        <p:nvGraphicFramePr>
          <p:cNvPr id="182" name="Google Shape;182;p4"/>
          <p:cNvGraphicFramePr/>
          <p:nvPr>
            <p:extLst>
              <p:ext uri="{D42A27DB-BD31-4B8C-83A1-F6EECF244321}">
                <p14:modId xmlns:p14="http://schemas.microsoft.com/office/powerpoint/2010/main" val="1684432905"/>
              </p:ext>
            </p:extLst>
          </p:nvPr>
        </p:nvGraphicFramePr>
        <p:xfrm>
          <a:off x="559415" y="1928606"/>
          <a:ext cx="6358425" cy="3992100"/>
        </p:xfrm>
        <a:graphic>
          <a:graphicData uri="http://schemas.openxmlformats.org/drawingml/2006/table">
            <a:tbl>
              <a:tblPr firstRow="1">
                <a:noFill/>
              </a:tblPr>
              <a:tblGrid>
                <a:gridCol w="2776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01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018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7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5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#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ction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Owner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Timing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92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1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Fill in Finance Code Request Form </a:t>
                      </a: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with event’s details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Event team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t least 2 weeks before event (earlier the better)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92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2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Email form to Treasury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Event team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t least 2 weeks before event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92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3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pply for Finance Code from SA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Treasury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pproval takes one week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92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4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Notify event team </a:t>
                      </a:r>
                      <a:r>
                        <a:rPr lang="en-US" sz="1200" u="none" strike="noStrike" cap="none" dirty="0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of approval and </a:t>
                      </a:r>
                      <a:r>
                        <a:rPr lang="en-US" sz="1200" b="1" u="none" strike="noStrike" cap="none" dirty="0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dd finance code to </a:t>
                      </a:r>
                      <a:r>
                        <a:rPr lang="en-US" sz="1200" b="1" u="none" strike="noStrike" cap="none" dirty="0" err="1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GoogleDoc</a:t>
                      </a:r>
                      <a:r>
                        <a:rPr lang="en-US" sz="1200" b="1" u="none" strike="noStrike" cap="none" dirty="0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, </a:t>
                      </a:r>
                      <a:r>
                        <a:rPr lang="en-US" sz="1200" b="0" u="none" strike="noStrike" cap="none" dirty="0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if there is one</a:t>
                      </a:r>
                      <a:endParaRPr sz="1200" b="1" u="none" strike="noStrike" cap="none" dirty="0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 dirty="0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Treasury</a:t>
                      </a:r>
                      <a:endParaRPr sz="1200" b="0" u="none" strike="noStrike" cap="none" dirty="0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Upon approval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92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5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pply Finance Code to CampusGroup event page and catering requests </a:t>
                      </a: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(etc.)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Event team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Upon notification</a:t>
                      </a:r>
                      <a:endParaRPr sz="1200" u="none" strike="noStrike" cap="none" dirty="0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83" name="Google Shape;183;p4"/>
          <p:cNvSpPr/>
          <p:nvPr/>
        </p:nvSpPr>
        <p:spPr>
          <a:xfrm>
            <a:off x="7683330" y="4209421"/>
            <a:ext cx="3885793" cy="901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Finance codes, once approved, can be referenced at anytime on the club Event Management </a:t>
            </a:r>
            <a:r>
              <a:rPr lang="en-US" sz="1200" b="0" i="1" u="none" strike="noStrike" cap="none" dirty="0" err="1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GoogleDoc</a:t>
            </a:r>
            <a:endParaRPr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4" name="Google Shape;184;p4"/>
          <p:cNvSpPr/>
          <p:nvPr/>
        </p:nvSpPr>
        <p:spPr>
          <a:xfrm>
            <a:off x="7683345" y="1605721"/>
            <a:ext cx="3885793" cy="901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A finance code is unique to each event hosted by a club – internal and external). </a:t>
            </a:r>
            <a:r>
              <a:rPr lang="en-US" sz="1200" b="1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It is used to tag money, both incoming and outgoing, to </a:t>
            </a:r>
            <a:r>
              <a:rPr lang="en-US" sz="1200" b="1" i="1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he club</a:t>
            </a: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. For example, it’s used by: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n-US" sz="1200" b="0" i="1" u="none" strike="noStrike" cap="none" dirty="0" err="1">
                <a:solidFill>
                  <a:srgbClr val="C80F2E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CampusGroups</a:t>
            </a:r>
            <a:r>
              <a:rPr lang="en-US" sz="1200" b="0" i="1" u="none" strike="noStrike" cap="none" dirty="0">
                <a:solidFill>
                  <a:srgbClr val="C80F2E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o make sure the ticket sales come back to the club and track RSVP number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eams to request </a:t>
            </a:r>
            <a:r>
              <a:rPr lang="en-US" sz="1200" b="0" i="1" u="none" strike="noStrike" cap="none" dirty="0">
                <a:solidFill>
                  <a:srgbClr val="C80F2E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internal catering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n-US" sz="1200" b="0" i="1" u="none" strike="noStrike" cap="none" dirty="0">
                <a:solidFill>
                  <a:srgbClr val="C80F2E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Sponsorship forms </a:t>
            </a: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– without a finance code, the money just goes to the SA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Individuals requesting </a:t>
            </a:r>
            <a:r>
              <a:rPr lang="en-US" sz="1200" b="0" i="1" u="none" strike="noStrike" cap="none" dirty="0">
                <a:solidFill>
                  <a:srgbClr val="C80F2E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reimbursement 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" name="Google Shape;185;p4"/>
          <p:cNvSpPr/>
          <p:nvPr/>
        </p:nvSpPr>
        <p:spPr>
          <a:xfrm>
            <a:off x="9889771" y="5430255"/>
            <a:ext cx="1679363" cy="778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1" u="none" strike="noStrike" cap="none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Finance Code Request Form </a:t>
            </a:r>
            <a:r>
              <a:rPr lang="en-US" sz="1100" b="0" i="1" u="none" strike="noStrike" cap="none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(email)</a:t>
            </a:r>
            <a:endParaRPr sz="1200" b="0" i="0" u="none" strike="noStrike" cap="none">
              <a:solidFill>
                <a:schemeClr val="dk2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00000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US" sz="1100" b="0" i="0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Double click for form</a:t>
            </a:r>
            <a:endParaRPr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4"/>
          <p:cNvSpPr/>
          <p:nvPr/>
        </p:nvSpPr>
        <p:spPr>
          <a:xfrm rot="-10306955">
            <a:off x="9811415" y="6325165"/>
            <a:ext cx="345441" cy="128869"/>
          </a:xfrm>
          <a:custGeom>
            <a:avLst/>
            <a:gdLst/>
            <a:ahLst/>
            <a:cxnLst/>
            <a:rect l="l" t="t" r="r" b="b"/>
            <a:pathLst>
              <a:path w="216" h="80" extrusionOk="0">
                <a:moveTo>
                  <a:pt x="212" y="22"/>
                </a:moveTo>
                <a:cubicBezTo>
                  <a:pt x="210" y="21"/>
                  <a:pt x="207" y="23"/>
                  <a:pt x="206" y="25"/>
                </a:cubicBezTo>
                <a:cubicBezTo>
                  <a:pt x="192" y="61"/>
                  <a:pt x="192" y="61"/>
                  <a:pt x="192" y="61"/>
                </a:cubicBezTo>
                <a:cubicBezTo>
                  <a:pt x="176" y="25"/>
                  <a:pt x="139" y="0"/>
                  <a:pt x="99" y="0"/>
                </a:cubicBezTo>
                <a:cubicBezTo>
                  <a:pt x="54" y="0"/>
                  <a:pt x="14" y="30"/>
                  <a:pt x="1" y="73"/>
                </a:cubicBezTo>
                <a:cubicBezTo>
                  <a:pt x="0" y="76"/>
                  <a:pt x="2" y="78"/>
                  <a:pt x="4" y="79"/>
                </a:cubicBezTo>
                <a:cubicBezTo>
                  <a:pt x="7" y="80"/>
                  <a:pt x="10" y="78"/>
                  <a:pt x="10" y="76"/>
                </a:cubicBezTo>
                <a:cubicBezTo>
                  <a:pt x="22" y="37"/>
                  <a:pt x="58" y="9"/>
                  <a:pt x="99" y="9"/>
                </a:cubicBezTo>
                <a:cubicBezTo>
                  <a:pt x="136" y="9"/>
                  <a:pt x="169" y="32"/>
                  <a:pt x="183" y="66"/>
                </a:cubicBezTo>
                <a:cubicBezTo>
                  <a:pt x="146" y="51"/>
                  <a:pt x="146" y="51"/>
                  <a:pt x="146" y="51"/>
                </a:cubicBezTo>
                <a:cubicBezTo>
                  <a:pt x="144" y="50"/>
                  <a:pt x="141" y="52"/>
                  <a:pt x="140" y="54"/>
                </a:cubicBezTo>
                <a:cubicBezTo>
                  <a:pt x="139" y="57"/>
                  <a:pt x="140" y="59"/>
                  <a:pt x="143" y="60"/>
                </a:cubicBezTo>
                <a:cubicBezTo>
                  <a:pt x="189" y="78"/>
                  <a:pt x="189" y="78"/>
                  <a:pt x="189" y="78"/>
                </a:cubicBezTo>
                <a:cubicBezTo>
                  <a:pt x="189" y="79"/>
                  <a:pt x="190" y="79"/>
                  <a:pt x="192" y="79"/>
                </a:cubicBezTo>
                <a:cubicBezTo>
                  <a:pt x="192" y="79"/>
                  <a:pt x="192" y="79"/>
                  <a:pt x="192" y="79"/>
                </a:cubicBezTo>
                <a:cubicBezTo>
                  <a:pt x="192" y="79"/>
                  <a:pt x="192" y="79"/>
                  <a:pt x="192" y="79"/>
                </a:cubicBezTo>
                <a:cubicBezTo>
                  <a:pt x="193" y="79"/>
                  <a:pt x="193" y="79"/>
                  <a:pt x="194" y="79"/>
                </a:cubicBezTo>
                <a:cubicBezTo>
                  <a:pt x="195" y="78"/>
                  <a:pt x="196" y="77"/>
                  <a:pt x="197" y="76"/>
                </a:cubicBezTo>
                <a:cubicBezTo>
                  <a:pt x="215" y="29"/>
                  <a:pt x="215" y="29"/>
                  <a:pt x="215" y="29"/>
                </a:cubicBezTo>
                <a:cubicBezTo>
                  <a:pt x="216" y="26"/>
                  <a:pt x="215" y="23"/>
                  <a:pt x="212" y="22"/>
                </a:cubicBezTo>
                <a:close/>
              </a:path>
            </a:pathLst>
          </a:custGeom>
          <a:solidFill>
            <a:srgbClr val="231F2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7" name="Google Shape;187;p4"/>
          <p:cNvSpPr txBox="1"/>
          <p:nvPr/>
        </p:nvSpPr>
        <p:spPr>
          <a:xfrm>
            <a:off x="3183070" y="243262"/>
            <a:ext cx="8172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Montserrat Light"/>
              <a:buNone/>
            </a:pPr>
            <a:r>
              <a:rPr lang="en-US" sz="2000" b="1" i="0" u="none" strike="noStrike" cap="none" dirty="0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REQUEST FINANCE CODE</a:t>
            </a:r>
            <a:endParaRPr sz="2000" b="1" i="0" u="none" strike="noStrike" cap="none" dirty="0">
              <a:solidFill>
                <a:schemeClr val="dk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189" name="Google Shape;189;p4"/>
          <p:cNvSpPr/>
          <p:nvPr/>
        </p:nvSpPr>
        <p:spPr>
          <a:xfrm>
            <a:off x="7862659" y="5433567"/>
            <a:ext cx="1799460" cy="918730"/>
          </a:xfrm>
          <a:prstGeom prst="rect">
            <a:avLst/>
          </a:prstGeom>
          <a:noFill/>
          <a:ln w="9525" cap="flat" cmpd="sng">
            <a:solidFill>
              <a:srgbClr val="39445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91" name="Google Shape;191;p4"/>
          <p:cNvGrpSpPr/>
          <p:nvPr/>
        </p:nvGrpSpPr>
        <p:grpSpPr>
          <a:xfrm>
            <a:off x="11523627" y="151464"/>
            <a:ext cx="463899" cy="463899"/>
            <a:chOff x="11523627" y="151464"/>
            <a:chExt cx="463899" cy="463899"/>
          </a:xfrm>
        </p:grpSpPr>
        <p:sp>
          <p:nvSpPr>
            <p:cNvPr id="192" name="Google Shape;192;p4"/>
            <p:cNvSpPr/>
            <p:nvPr/>
          </p:nvSpPr>
          <p:spPr>
            <a:xfrm>
              <a:off x="11523627" y="151464"/>
              <a:ext cx="463899" cy="463899"/>
            </a:xfrm>
            <a:prstGeom prst="ellipse">
              <a:avLst/>
            </a:prstGeom>
            <a:solidFill>
              <a:schemeClr val="accent1"/>
            </a:solidFill>
            <a:ln w="9525" cap="flat" cmpd="sng">
              <a:solidFill>
                <a:srgbClr val="00154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3" name="Google Shape;193;p4"/>
            <p:cNvSpPr/>
            <p:nvPr/>
          </p:nvSpPr>
          <p:spPr>
            <a:xfrm>
              <a:off x="11626596" y="313330"/>
              <a:ext cx="278228" cy="122133"/>
            </a:xfrm>
            <a:custGeom>
              <a:avLst/>
              <a:gdLst/>
              <a:ahLst/>
              <a:cxnLst/>
              <a:rect l="l" t="t" r="r" b="b"/>
              <a:pathLst>
                <a:path w="320" h="128" extrusionOk="0">
                  <a:moveTo>
                    <a:pt x="309" y="53"/>
                  </a:moveTo>
                  <a:cubicBezTo>
                    <a:pt x="127" y="53"/>
                    <a:pt x="127" y="53"/>
                    <a:pt x="127" y="53"/>
                  </a:cubicBezTo>
                  <a:cubicBezTo>
                    <a:pt x="122" y="23"/>
                    <a:pt x="95" y="0"/>
                    <a:pt x="64" y="0"/>
                  </a:cubicBezTo>
                  <a:cubicBezTo>
                    <a:pt x="28" y="0"/>
                    <a:pt x="0" y="28"/>
                    <a:pt x="0" y="64"/>
                  </a:cubicBezTo>
                  <a:cubicBezTo>
                    <a:pt x="0" y="99"/>
                    <a:pt x="28" y="128"/>
                    <a:pt x="64" y="128"/>
                  </a:cubicBezTo>
                  <a:cubicBezTo>
                    <a:pt x="95" y="128"/>
                    <a:pt x="122" y="105"/>
                    <a:pt x="127" y="74"/>
                  </a:cubicBezTo>
                  <a:cubicBezTo>
                    <a:pt x="256" y="74"/>
                    <a:pt x="256" y="74"/>
                    <a:pt x="256" y="74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102"/>
                    <a:pt x="260" y="106"/>
                    <a:pt x="266" y="106"/>
                  </a:cubicBezTo>
                  <a:cubicBezTo>
                    <a:pt x="272" y="106"/>
                    <a:pt x="277" y="102"/>
                    <a:pt x="277" y="96"/>
                  </a:cubicBezTo>
                  <a:cubicBezTo>
                    <a:pt x="277" y="74"/>
                    <a:pt x="277" y="74"/>
                    <a:pt x="277" y="74"/>
                  </a:cubicBezTo>
                  <a:cubicBezTo>
                    <a:pt x="298" y="74"/>
                    <a:pt x="298" y="74"/>
                    <a:pt x="298" y="74"/>
                  </a:cubicBezTo>
                  <a:cubicBezTo>
                    <a:pt x="298" y="117"/>
                    <a:pt x="298" y="117"/>
                    <a:pt x="298" y="117"/>
                  </a:cubicBezTo>
                  <a:cubicBezTo>
                    <a:pt x="298" y="123"/>
                    <a:pt x="303" y="128"/>
                    <a:pt x="309" y="128"/>
                  </a:cubicBezTo>
                  <a:cubicBezTo>
                    <a:pt x="315" y="128"/>
                    <a:pt x="320" y="123"/>
                    <a:pt x="320" y="117"/>
                  </a:cubicBezTo>
                  <a:cubicBezTo>
                    <a:pt x="320" y="64"/>
                    <a:pt x="320" y="64"/>
                    <a:pt x="320" y="64"/>
                  </a:cubicBezTo>
                  <a:cubicBezTo>
                    <a:pt x="320" y="58"/>
                    <a:pt x="315" y="53"/>
                    <a:pt x="309" y="53"/>
                  </a:cubicBezTo>
                  <a:close/>
                  <a:moveTo>
                    <a:pt x="64" y="106"/>
                  </a:moveTo>
                  <a:cubicBezTo>
                    <a:pt x="40" y="106"/>
                    <a:pt x="21" y="87"/>
                    <a:pt x="21" y="64"/>
                  </a:cubicBezTo>
                  <a:cubicBezTo>
                    <a:pt x="21" y="40"/>
                    <a:pt x="40" y="21"/>
                    <a:pt x="64" y="21"/>
                  </a:cubicBezTo>
                  <a:cubicBezTo>
                    <a:pt x="87" y="21"/>
                    <a:pt x="106" y="40"/>
                    <a:pt x="106" y="64"/>
                  </a:cubicBezTo>
                  <a:cubicBezTo>
                    <a:pt x="106" y="87"/>
                    <a:pt x="87" y="106"/>
                    <a:pt x="64" y="10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C80FE0AE-3476-41B1-A245-8523EC15993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7172613"/>
              </p:ext>
            </p:extLst>
          </p:nvPr>
        </p:nvGraphicFramePr>
        <p:xfrm>
          <a:off x="8031239" y="5577400"/>
          <a:ext cx="1462300" cy="6310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Packager Shell Object" showAsIcon="1" r:id="rId4" imgW="1167480" imgH="472680" progId="Package">
                  <p:embed/>
                </p:oleObj>
              </mc:Choice>
              <mc:Fallback>
                <p:oleObj name="Packager Shell Object" showAsIcon="1" r:id="rId4" imgW="1167480" imgH="472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031239" y="5577400"/>
                        <a:ext cx="1462300" cy="6310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5"/>
          <p:cNvSpPr/>
          <p:nvPr/>
        </p:nvSpPr>
        <p:spPr>
          <a:xfrm>
            <a:off x="7443163" y="3880905"/>
            <a:ext cx="3910637" cy="230625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0" name="Google Shape;200;p5"/>
          <p:cNvSpPr txBox="1">
            <a:spLocks noGrp="1"/>
          </p:cNvSpPr>
          <p:nvPr>
            <p:ph type="sldNum" idx="12"/>
          </p:nvPr>
        </p:nvSpPr>
        <p:spPr>
          <a:xfrm>
            <a:off x="10885800" y="6014832"/>
            <a:ext cx="468000" cy="324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  <p:sp>
        <p:nvSpPr>
          <p:cNvPr id="201" name="Google Shape;201;p5"/>
          <p:cNvSpPr/>
          <p:nvPr/>
        </p:nvSpPr>
        <p:spPr>
          <a:xfrm>
            <a:off x="11523627" y="151464"/>
            <a:ext cx="463899" cy="463899"/>
          </a:xfrm>
          <a:prstGeom prst="ellipse">
            <a:avLst/>
          </a:prstGeom>
          <a:solidFill>
            <a:schemeClr val="accent1"/>
          </a:solidFill>
          <a:ln w="9525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0" i="0" u="none" strike="noStrike" cap="none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rPr>
              <a:t>£</a:t>
            </a:r>
            <a:endParaRPr sz="1600" b="0" i="0" u="none" strike="noStrike" cap="none" baseline="30000">
              <a:solidFill>
                <a:schemeClr val="lt1"/>
              </a:solidFill>
              <a:latin typeface="Cambria"/>
              <a:ea typeface="Cambria"/>
              <a:cs typeface="Cambria"/>
              <a:sym typeface="Cambria"/>
            </a:endParaRPr>
          </a:p>
        </p:txBody>
      </p:sp>
      <p:cxnSp>
        <p:nvCxnSpPr>
          <p:cNvPr id="202" name="Google Shape;202;p5"/>
          <p:cNvCxnSpPr/>
          <p:nvPr/>
        </p:nvCxnSpPr>
        <p:spPr>
          <a:xfrm rot="10800000">
            <a:off x="467845" y="1136021"/>
            <a:ext cx="6541556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203" name="Google Shape;203;p5"/>
          <p:cNvSpPr/>
          <p:nvPr/>
        </p:nvSpPr>
        <p:spPr>
          <a:xfrm>
            <a:off x="1100642" y="991440"/>
            <a:ext cx="5275962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Event Owner’s Action Items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04" name="Google Shape;204;p5"/>
          <p:cNvSpPr/>
          <p:nvPr/>
        </p:nvSpPr>
        <p:spPr>
          <a:xfrm>
            <a:off x="7683346" y="991440"/>
            <a:ext cx="3885803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Why it’s Important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05" name="Google Shape;205;p5"/>
          <p:cNvSpPr/>
          <p:nvPr/>
        </p:nvSpPr>
        <p:spPr>
          <a:xfrm>
            <a:off x="7683346" y="2109574"/>
            <a:ext cx="3885900" cy="289200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ips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06" name="Google Shape;206;p5"/>
          <p:cNvSpPr/>
          <p:nvPr/>
        </p:nvSpPr>
        <p:spPr>
          <a:xfrm>
            <a:off x="7683345" y="4525550"/>
            <a:ext cx="3885900" cy="289200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ools 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cxnSp>
        <p:nvCxnSpPr>
          <p:cNvPr id="207" name="Google Shape;207;p5"/>
          <p:cNvCxnSpPr/>
          <p:nvPr/>
        </p:nvCxnSpPr>
        <p:spPr>
          <a:xfrm>
            <a:off x="7262263" y="991440"/>
            <a:ext cx="0" cy="5368291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graphicFrame>
        <p:nvGraphicFramePr>
          <p:cNvPr id="208" name="Google Shape;208;p5"/>
          <p:cNvGraphicFramePr/>
          <p:nvPr>
            <p:extLst>
              <p:ext uri="{D42A27DB-BD31-4B8C-83A1-F6EECF244321}">
                <p14:modId xmlns:p14="http://schemas.microsoft.com/office/powerpoint/2010/main" val="3639917385"/>
              </p:ext>
            </p:extLst>
          </p:nvPr>
        </p:nvGraphicFramePr>
        <p:xfrm>
          <a:off x="559016" y="1639445"/>
          <a:ext cx="6358425" cy="4186425"/>
        </p:xfrm>
        <a:graphic>
          <a:graphicData uri="http://schemas.openxmlformats.org/drawingml/2006/table">
            <a:tbl>
              <a:tblPr firstRow="1">
                <a:noFill/>
              </a:tblPr>
              <a:tblGrid>
                <a:gridCol w="2776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01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018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7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5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#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ction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Owner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Timing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0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1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Draft contract</a:t>
                      </a: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 and send to Sponsor for review and edit requests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i="0" u="none" strike="noStrike" cap="none">
                          <a:solidFill>
                            <a:srgbClr val="001E61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ponsor team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More than 3 weeks before event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0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2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end contract to </a:t>
                      </a:r>
                      <a:r>
                        <a:rPr lang="en-US" sz="1200" b="1" u="sng" strike="noStrike" cap="none">
                          <a:solidFill>
                            <a:schemeClr val="hlink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  <a:hlinkClick r:id="rId4"/>
                        </a:rPr>
                        <a:t>SA Sponsorship </a:t>
                      </a:r>
                      <a:r>
                        <a:rPr lang="en-US" sz="12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team for signature</a:t>
                      </a: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; copy Treasury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i="0" u="none" strike="noStrike" cap="none">
                          <a:solidFill>
                            <a:srgbClr val="001E61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ponsor team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i="0" u="none" strike="noStrike" cap="none">
                          <a:solidFill>
                            <a:srgbClr val="001E61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More than 3 weeks before event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0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3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A reviews</a:t>
                      </a: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, approves, signs, and </a:t>
                      </a:r>
                      <a:r>
                        <a:rPr lang="en-US" sz="12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ends back contract</a:t>
                      </a:r>
                      <a:endParaRPr sz="1200" b="1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A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i="0" u="none" strike="noStrike" cap="none">
                          <a:solidFill>
                            <a:srgbClr val="001E61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More than 3 weeks before event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0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4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end approved contract back to </a:t>
                      </a:r>
                      <a:r>
                        <a:rPr lang="en-US" sz="12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ponsor for final signature</a:t>
                      </a: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; copy Treasury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i="0" u="none" strike="noStrike" cap="none">
                          <a:solidFill>
                            <a:srgbClr val="001E61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ponsor team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i="0" u="none" strike="noStrike" cap="none">
                          <a:solidFill>
                            <a:srgbClr val="001E61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More than 3 weeks before event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0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5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end </a:t>
                      </a:r>
                      <a:r>
                        <a:rPr lang="en-US" sz="12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ponsor Information via email form to Treasury</a:t>
                      </a:r>
                      <a:endParaRPr sz="1200" b="1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i="0" u="none" strike="noStrike" cap="none">
                          <a:solidFill>
                            <a:srgbClr val="001E61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ponsor team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3 weeks before event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40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6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Treasury raises invoice to sponsor </a:t>
                      </a: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using contract + info from team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Treasury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3 weeks before event</a:t>
                      </a:r>
                      <a:endParaRPr sz="1200" u="none" strike="noStrike" cap="none" dirty="0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09" name="Google Shape;209;p5"/>
          <p:cNvSpPr/>
          <p:nvPr/>
        </p:nvSpPr>
        <p:spPr>
          <a:xfrm>
            <a:off x="7683345" y="2423935"/>
            <a:ext cx="3885900" cy="90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n-US" sz="1200" b="1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Update bullets under</a:t>
            </a: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200" b="1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section 9 </a:t>
            </a: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of the contract based on what you’ve promised the sponsor – these will likely change for each contract and are </a:t>
            </a:r>
            <a:r>
              <a:rPr lang="en-US" sz="1200" b="1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very important!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Sponsor will pay </a:t>
            </a:r>
            <a:r>
              <a:rPr lang="en-US" sz="1200" b="1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20% VAT </a:t>
            </a: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on top of their contribution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n-US" sz="1200" b="1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SA Sponsorship Team </a:t>
            </a: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is Ed Boyanoski and Veer Jhamtani</a:t>
            </a:r>
          </a:p>
          <a:p>
            <a:pPr marL="628650" lvl="1" indent="-171450">
              <a:buClr>
                <a:srgbClr val="000000"/>
              </a:buClr>
              <a:buSzPts val="1200"/>
              <a:buFont typeface="Arial"/>
              <a:buChar char="•"/>
            </a:pP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  <a:hlinkClick r:id="rId5"/>
              </a:rPr>
              <a:t>eboyanoski.mba2021@london.edu</a:t>
            </a:r>
            <a:endParaRPr lang="en-US" sz="1200" b="0" i="1" u="none" strike="noStrike" cap="none" dirty="0">
              <a:solidFill>
                <a:srgbClr val="00000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628650" lvl="1" indent="-171450">
              <a:buClr>
                <a:srgbClr val="000000"/>
              </a:buClr>
              <a:buSzPts val="1200"/>
              <a:buFont typeface="Arial"/>
              <a:buChar char="•"/>
            </a:pPr>
            <a:r>
              <a:rPr lang="nl-NL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  <a:hlinkClick r:id="rId6"/>
              </a:rPr>
              <a:t>vjhamtani.mba2022@london.edu</a:t>
            </a:r>
            <a:endParaRPr sz="1200" b="0" i="1" u="none" strike="noStrike" cap="none" dirty="0">
              <a:solidFill>
                <a:srgbClr val="00000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Montserrat Light"/>
              <a:buChar char="•"/>
            </a:pPr>
            <a:r>
              <a:rPr lang="en-US" sz="1200" b="1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Contracts should only address a single event, </a:t>
            </a:r>
            <a:r>
              <a:rPr lang="en-US" sz="1200" b="0" i="1" u="none" strike="noStrike" cap="none" dirty="0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in case of sponsoring multiple events you should draft multiple contracts</a:t>
            </a:r>
            <a:endParaRPr sz="1200" b="0" i="1" u="none" strike="noStrike" cap="none" dirty="0">
              <a:solidFill>
                <a:srgbClr val="00000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0" name="Google Shape;210;p5"/>
          <p:cNvSpPr/>
          <p:nvPr/>
        </p:nvSpPr>
        <p:spPr>
          <a:xfrm>
            <a:off x="7683345" y="1316560"/>
            <a:ext cx="3885793" cy="901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1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Approval process takes three weeks given the number of parties involved. Treasury should be informed and looped in early to make sure we get the funds in time! 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1" name="Google Shape;211;p5"/>
          <p:cNvSpPr txBox="1"/>
          <p:nvPr/>
        </p:nvSpPr>
        <p:spPr>
          <a:xfrm>
            <a:off x="3183070" y="243262"/>
            <a:ext cx="8172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Montserrat Light"/>
              <a:buNone/>
            </a:pPr>
            <a:r>
              <a:rPr lang="en-US" sz="2000" b="1" i="0" u="none" strike="noStrike" cap="none" dirty="0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ENGAGE WITH SPONSORS</a:t>
            </a:r>
            <a:endParaRPr sz="2000" b="1" i="0" u="none" strike="noStrike" cap="none" dirty="0">
              <a:solidFill>
                <a:schemeClr val="dk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13" name="Google Shape;213;p5"/>
          <p:cNvSpPr/>
          <p:nvPr/>
        </p:nvSpPr>
        <p:spPr>
          <a:xfrm>
            <a:off x="9643549" y="5732901"/>
            <a:ext cx="20319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1" u="none" strike="noStrike" cap="none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3. </a:t>
            </a:r>
            <a:r>
              <a:rPr lang="en-US" sz="1200" b="1" i="1" u="none" strike="noStrike" cap="none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Sponsor information</a:t>
            </a:r>
            <a:endParaRPr sz="1200" b="0" i="0" u="none" strike="noStrike" cap="none">
              <a:solidFill>
                <a:schemeClr val="dk2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00000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14" name="Google Shape;214;p5"/>
          <p:cNvSpPr/>
          <p:nvPr/>
        </p:nvSpPr>
        <p:spPr>
          <a:xfrm>
            <a:off x="9783744" y="5085398"/>
            <a:ext cx="1799400" cy="625414"/>
          </a:xfrm>
          <a:prstGeom prst="rect">
            <a:avLst/>
          </a:prstGeom>
          <a:noFill/>
          <a:ln w="9525" cap="flat" cmpd="sng">
            <a:solidFill>
              <a:srgbClr val="39445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5" name="Google Shape;215;p5"/>
          <p:cNvSpPr/>
          <p:nvPr/>
        </p:nvSpPr>
        <p:spPr>
          <a:xfrm>
            <a:off x="7683345" y="5085398"/>
            <a:ext cx="1799400" cy="625414"/>
          </a:xfrm>
          <a:prstGeom prst="rect">
            <a:avLst/>
          </a:prstGeom>
          <a:noFill/>
          <a:ln w="9525" cap="flat" cmpd="sng">
            <a:solidFill>
              <a:srgbClr val="39445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6" name="Google Shape;216;p5"/>
          <p:cNvSpPr/>
          <p:nvPr/>
        </p:nvSpPr>
        <p:spPr>
          <a:xfrm>
            <a:off x="7770526" y="5732901"/>
            <a:ext cx="1847400" cy="7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1" u="none" strike="noStrike" cap="none" dirty="0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2. </a:t>
            </a:r>
            <a:r>
              <a:rPr lang="en-US" sz="1200" b="1" i="1" u="none" strike="noStrike" cap="none" dirty="0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Sponsor template 2020</a:t>
            </a:r>
            <a:endParaRPr sz="1200" b="0" i="0" u="none" strike="noStrike" cap="none" dirty="0">
              <a:solidFill>
                <a:schemeClr val="dk2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 dirty="0">
              <a:solidFill>
                <a:srgbClr val="00000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 dirty="0">
              <a:solidFill>
                <a:srgbClr val="00000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19" name="Google Shape;219;p5"/>
          <p:cNvSpPr/>
          <p:nvPr/>
        </p:nvSpPr>
        <p:spPr>
          <a:xfrm>
            <a:off x="7658497" y="5906348"/>
            <a:ext cx="2403222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US" sz="1100" b="0" i="1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Double click each icon for form</a:t>
            </a:r>
            <a:endParaRPr sz="1100" b="0" i="1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0" name="Google Shape;220;p5"/>
          <p:cNvSpPr/>
          <p:nvPr/>
        </p:nvSpPr>
        <p:spPr>
          <a:xfrm>
            <a:off x="7680870" y="4814741"/>
            <a:ext cx="3879300" cy="3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1" u="none" strike="noStrike" cap="none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1. </a:t>
            </a:r>
            <a:r>
              <a:rPr lang="en-US" sz="1200" b="1" i="1" u="sng" strike="noStrike" cap="none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  <a:hlinkClick r:id="rId7"/>
              </a:rPr>
              <a:t>SA’s Sponsorship Guide</a:t>
            </a:r>
            <a:r>
              <a:rPr lang="en-US" sz="1200" b="1" i="1" u="none" strike="noStrike" cap="none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 </a:t>
            </a:r>
            <a:r>
              <a:rPr lang="en-US" sz="1200" b="0" i="1" u="none" strike="noStrike" cap="none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(link) for more details</a:t>
            </a:r>
            <a:endParaRPr sz="1200" b="0" i="0" u="none" strike="noStrike" cap="none">
              <a:solidFill>
                <a:schemeClr val="dk2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endParaRPr sz="600" b="0" i="0" u="none" strike="noStrike" cap="none">
              <a:solidFill>
                <a:srgbClr val="00000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9994F1C-39F8-4056-BCD3-ED1A4B8D17E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4670901"/>
              </p:ext>
            </p:extLst>
          </p:nvPr>
        </p:nvGraphicFramePr>
        <p:xfrm>
          <a:off x="10024773" y="5163172"/>
          <a:ext cx="1260475" cy="473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6" name="Packager Shell Object" showAsIcon="1" r:id="rId8" imgW="1260000" imgH="472680" progId="Package">
                  <p:embed/>
                </p:oleObj>
              </mc:Choice>
              <mc:Fallback>
                <p:oleObj name="Packager Shell Object" showAsIcon="1" r:id="rId8" imgW="1260000" imgH="472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024773" y="5163172"/>
                        <a:ext cx="1260475" cy="473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8D4D6E4E-6AD2-46D1-89DA-18AA1325A06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032511"/>
              </p:ext>
            </p:extLst>
          </p:nvPr>
        </p:nvGraphicFramePr>
        <p:xfrm>
          <a:off x="8115683" y="5091860"/>
          <a:ext cx="914400" cy="774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7" name="Document" showAsIcon="1" r:id="rId10" imgW="914400" imgH="774720" progId="Word.Document.12">
                  <p:embed/>
                </p:oleObj>
              </mc:Choice>
              <mc:Fallback>
                <p:oleObj name="Document" showAsIcon="1" r:id="rId10" imgW="914400" imgH="77472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8115683" y="5091860"/>
                        <a:ext cx="914400" cy="7747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6"/>
          <p:cNvSpPr/>
          <p:nvPr/>
        </p:nvSpPr>
        <p:spPr>
          <a:xfrm>
            <a:off x="7658497" y="4918191"/>
            <a:ext cx="3910637" cy="170530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7" name="Google Shape;227;p6"/>
          <p:cNvSpPr txBox="1">
            <a:spLocks noGrp="1"/>
          </p:cNvSpPr>
          <p:nvPr>
            <p:ph type="sldNum" idx="12"/>
          </p:nvPr>
        </p:nvSpPr>
        <p:spPr>
          <a:xfrm>
            <a:off x="10885800" y="6303993"/>
            <a:ext cx="468000" cy="324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  <p:sp>
        <p:nvSpPr>
          <p:cNvPr id="228" name="Google Shape;228;p6"/>
          <p:cNvSpPr/>
          <p:nvPr/>
        </p:nvSpPr>
        <p:spPr>
          <a:xfrm>
            <a:off x="11523627" y="151464"/>
            <a:ext cx="463899" cy="463899"/>
          </a:xfrm>
          <a:prstGeom prst="ellipse">
            <a:avLst/>
          </a:prstGeom>
          <a:solidFill>
            <a:schemeClr val="accent1"/>
          </a:solidFill>
          <a:ln w="9525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9" name="Google Shape;229;p6"/>
          <p:cNvCxnSpPr/>
          <p:nvPr/>
        </p:nvCxnSpPr>
        <p:spPr>
          <a:xfrm rot="10800000">
            <a:off x="467845" y="1425182"/>
            <a:ext cx="6541556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230" name="Google Shape;230;p6"/>
          <p:cNvSpPr/>
          <p:nvPr/>
        </p:nvSpPr>
        <p:spPr>
          <a:xfrm>
            <a:off x="1100642" y="1280601"/>
            <a:ext cx="5275962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Event Owner’s Action Items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31" name="Google Shape;231;p6"/>
          <p:cNvSpPr/>
          <p:nvPr/>
        </p:nvSpPr>
        <p:spPr>
          <a:xfrm>
            <a:off x="7683346" y="1280601"/>
            <a:ext cx="3885803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Why it’s Important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32" name="Google Shape;232;p6"/>
          <p:cNvSpPr/>
          <p:nvPr/>
        </p:nvSpPr>
        <p:spPr>
          <a:xfrm>
            <a:off x="7683346" y="2741007"/>
            <a:ext cx="3885803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ips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33" name="Google Shape;233;p6"/>
          <p:cNvSpPr/>
          <p:nvPr/>
        </p:nvSpPr>
        <p:spPr>
          <a:xfrm>
            <a:off x="7683345" y="4572200"/>
            <a:ext cx="3885803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ool 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cxnSp>
        <p:nvCxnSpPr>
          <p:cNvPr id="234" name="Google Shape;234;p6"/>
          <p:cNvCxnSpPr/>
          <p:nvPr/>
        </p:nvCxnSpPr>
        <p:spPr>
          <a:xfrm>
            <a:off x="7262263" y="1280601"/>
            <a:ext cx="0" cy="5023392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graphicFrame>
        <p:nvGraphicFramePr>
          <p:cNvPr id="235" name="Google Shape;235;p6"/>
          <p:cNvGraphicFramePr/>
          <p:nvPr>
            <p:extLst>
              <p:ext uri="{D42A27DB-BD31-4B8C-83A1-F6EECF244321}">
                <p14:modId xmlns:p14="http://schemas.microsoft.com/office/powerpoint/2010/main" val="721522617"/>
              </p:ext>
            </p:extLst>
          </p:nvPr>
        </p:nvGraphicFramePr>
        <p:xfrm>
          <a:off x="559415" y="1928606"/>
          <a:ext cx="6358425" cy="4095065"/>
        </p:xfrm>
        <a:graphic>
          <a:graphicData uri="http://schemas.openxmlformats.org/drawingml/2006/table">
            <a:tbl>
              <a:tblPr firstRow="1">
                <a:noFill/>
              </a:tblPr>
              <a:tblGrid>
                <a:gridCol w="2776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01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018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7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5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#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ction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Owner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Timing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92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1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 dirty="0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Obtain an invoice from supplier</a:t>
                      </a:r>
                      <a:r>
                        <a:rPr lang="en-US" sz="1200" b="0" u="none" strike="noStrike" cap="none" dirty="0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 addressed to:</a:t>
                      </a:r>
                      <a:endParaRPr sz="1400" u="none" strike="noStrike" cap="none"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endParaRPr sz="1200" b="0" i="0" u="none" strike="noStrike" cap="none" dirty="0">
                        <a:solidFill>
                          <a:schemeClr val="dk1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ndon Business School Student Association, attn.: </a:t>
                      </a:r>
                      <a:r>
                        <a:rPr lang="en-US" sz="1200" b="0" i="0" u="none" strike="noStrike" cap="none" dirty="0">
                          <a:solidFill>
                            <a:srgbClr val="FF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[CLUB]</a:t>
                      </a:r>
                      <a:endParaRPr sz="1400" u="none" strike="noStrike" cap="none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ussex Place</a:t>
                      </a:r>
                      <a:b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</a:b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W1 4SA</a:t>
                      </a:r>
                      <a:b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</a:br>
                      <a:r>
                        <a:rPr lang="en-US" sz="1200" b="0" i="0" u="none" strike="noStrike" cap="none" dirty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London, UK</a:t>
                      </a:r>
                      <a:endParaRPr sz="1400" u="none" strike="noStrike" cap="none" dirty="0"/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Event team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t least 3 weeks before event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86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2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end </a:t>
                      </a:r>
                      <a:r>
                        <a:rPr lang="en-US" sz="12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Treasury supplier information </a:t>
                      </a: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nd attach invoice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Event team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t least 3 weeks before event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86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3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Treasury submits invoice to SA Finance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Treasury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t least 3 weeks before event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86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4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A Finance approves and sends to LBS Finance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A Finance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1 week later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86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5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LBS Finance approves and send funds to the supplier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LBS Finance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 dirty="0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1 week later</a:t>
                      </a:r>
                      <a:endParaRPr sz="1200" u="none" strike="noStrike" cap="none" dirty="0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36" name="Google Shape;236;p6"/>
          <p:cNvSpPr/>
          <p:nvPr/>
        </p:nvSpPr>
        <p:spPr>
          <a:xfrm>
            <a:off x="7683345" y="3107769"/>
            <a:ext cx="3885793" cy="901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n-US" sz="1200" b="0" i="1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SA Finance and LBS Finance conduct their activities in </a:t>
            </a:r>
            <a:r>
              <a:rPr lang="en-US" sz="1200" b="1" i="1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batches on Fridays</a:t>
            </a:r>
            <a:r>
              <a:rPr lang="en-US" sz="1200" b="0" i="1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, so it takes </a:t>
            </a:r>
            <a:r>
              <a:rPr lang="en-US" sz="1200" b="1" i="1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wo weeks to get through their queu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n-US" sz="1200" b="0" i="1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We have limited visibility into process once invoice is submitted to SA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7" name="Google Shape;237;p6"/>
          <p:cNvSpPr/>
          <p:nvPr/>
        </p:nvSpPr>
        <p:spPr>
          <a:xfrm>
            <a:off x="7683345" y="1605721"/>
            <a:ext cx="3885793" cy="901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1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Paying a supplier takes time but typically is </a:t>
            </a:r>
            <a:r>
              <a:rPr lang="en-US" sz="1200" b="1" i="1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critical </a:t>
            </a:r>
            <a:r>
              <a:rPr lang="en-US" sz="1200" b="0" i="1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o an event’s success (e.g., venue, food, drinks, trek hotel!!). Get these in early!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8" name="Google Shape;238;p6"/>
          <p:cNvSpPr/>
          <p:nvPr/>
        </p:nvSpPr>
        <p:spPr>
          <a:xfrm>
            <a:off x="9889772" y="5041334"/>
            <a:ext cx="1705528" cy="901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1" u="none" strike="noStrike" cap="none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Supplier information </a:t>
            </a:r>
            <a:r>
              <a:rPr lang="en-US" sz="1100" b="0" i="1" u="none" strike="noStrike" cap="none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(email)</a:t>
            </a:r>
            <a:endParaRPr sz="1200" b="0" i="0" u="none" strike="noStrike" cap="none">
              <a:solidFill>
                <a:schemeClr val="dk2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00000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0" i="0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Double click for for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9" name="Google Shape;239;p6"/>
          <p:cNvSpPr/>
          <p:nvPr/>
        </p:nvSpPr>
        <p:spPr>
          <a:xfrm rot="8850426">
            <a:off x="9912112" y="5919335"/>
            <a:ext cx="345441" cy="128869"/>
          </a:xfrm>
          <a:custGeom>
            <a:avLst/>
            <a:gdLst/>
            <a:ahLst/>
            <a:cxnLst/>
            <a:rect l="l" t="t" r="r" b="b"/>
            <a:pathLst>
              <a:path w="216" h="80" extrusionOk="0">
                <a:moveTo>
                  <a:pt x="212" y="22"/>
                </a:moveTo>
                <a:cubicBezTo>
                  <a:pt x="210" y="21"/>
                  <a:pt x="207" y="23"/>
                  <a:pt x="206" y="25"/>
                </a:cubicBezTo>
                <a:cubicBezTo>
                  <a:pt x="192" y="61"/>
                  <a:pt x="192" y="61"/>
                  <a:pt x="192" y="61"/>
                </a:cubicBezTo>
                <a:cubicBezTo>
                  <a:pt x="176" y="25"/>
                  <a:pt x="139" y="0"/>
                  <a:pt x="99" y="0"/>
                </a:cubicBezTo>
                <a:cubicBezTo>
                  <a:pt x="54" y="0"/>
                  <a:pt x="14" y="30"/>
                  <a:pt x="1" y="73"/>
                </a:cubicBezTo>
                <a:cubicBezTo>
                  <a:pt x="0" y="76"/>
                  <a:pt x="2" y="78"/>
                  <a:pt x="4" y="79"/>
                </a:cubicBezTo>
                <a:cubicBezTo>
                  <a:pt x="7" y="80"/>
                  <a:pt x="10" y="78"/>
                  <a:pt x="10" y="76"/>
                </a:cubicBezTo>
                <a:cubicBezTo>
                  <a:pt x="22" y="37"/>
                  <a:pt x="58" y="9"/>
                  <a:pt x="99" y="9"/>
                </a:cubicBezTo>
                <a:cubicBezTo>
                  <a:pt x="136" y="9"/>
                  <a:pt x="169" y="32"/>
                  <a:pt x="183" y="66"/>
                </a:cubicBezTo>
                <a:cubicBezTo>
                  <a:pt x="146" y="51"/>
                  <a:pt x="146" y="51"/>
                  <a:pt x="146" y="51"/>
                </a:cubicBezTo>
                <a:cubicBezTo>
                  <a:pt x="144" y="50"/>
                  <a:pt x="141" y="52"/>
                  <a:pt x="140" y="54"/>
                </a:cubicBezTo>
                <a:cubicBezTo>
                  <a:pt x="139" y="57"/>
                  <a:pt x="140" y="59"/>
                  <a:pt x="143" y="60"/>
                </a:cubicBezTo>
                <a:cubicBezTo>
                  <a:pt x="189" y="78"/>
                  <a:pt x="189" y="78"/>
                  <a:pt x="189" y="78"/>
                </a:cubicBezTo>
                <a:cubicBezTo>
                  <a:pt x="189" y="79"/>
                  <a:pt x="190" y="79"/>
                  <a:pt x="192" y="79"/>
                </a:cubicBezTo>
                <a:cubicBezTo>
                  <a:pt x="192" y="79"/>
                  <a:pt x="192" y="79"/>
                  <a:pt x="192" y="79"/>
                </a:cubicBezTo>
                <a:cubicBezTo>
                  <a:pt x="192" y="79"/>
                  <a:pt x="192" y="79"/>
                  <a:pt x="192" y="79"/>
                </a:cubicBezTo>
                <a:cubicBezTo>
                  <a:pt x="193" y="79"/>
                  <a:pt x="193" y="79"/>
                  <a:pt x="194" y="79"/>
                </a:cubicBezTo>
                <a:cubicBezTo>
                  <a:pt x="195" y="78"/>
                  <a:pt x="196" y="77"/>
                  <a:pt x="197" y="76"/>
                </a:cubicBezTo>
                <a:cubicBezTo>
                  <a:pt x="215" y="29"/>
                  <a:pt x="215" y="29"/>
                  <a:pt x="215" y="29"/>
                </a:cubicBezTo>
                <a:cubicBezTo>
                  <a:pt x="216" y="26"/>
                  <a:pt x="215" y="23"/>
                  <a:pt x="212" y="22"/>
                </a:cubicBezTo>
                <a:close/>
              </a:path>
            </a:pathLst>
          </a:custGeom>
          <a:solidFill>
            <a:srgbClr val="231F2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0" name="Google Shape;240;p6"/>
          <p:cNvSpPr txBox="1"/>
          <p:nvPr/>
        </p:nvSpPr>
        <p:spPr>
          <a:xfrm>
            <a:off x="3183070" y="243262"/>
            <a:ext cx="8172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Montserrat Light"/>
              <a:buNone/>
            </a:pPr>
            <a:r>
              <a:rPr lang="en-US" sz="2000" b="1" i="0" u="none" strike="noStrike" cap="none" dirty="0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PAY SUPPLIERS</a:t>
            </a:r>
            <a:endParaRPr sz="2000" b="1" i="0" u="none" strike="noStrike" cap="none" dirty="0">
              <a:solidFill>
                <a:schemeClr val="dk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42" name="Google Shape;242;p6"/>
          <p:cNvSpPr/>
          <p:nvPr/>
        </p:nvSpPr>
        <p:spPr>
          <a:xfrm>
            <a:off x="7826781" y="4999654"/>
            <a:ext cx="1799460" cy="937197"/>
          </a:xfrm>
          <a:prstGeom prst="rect">
            <a:avLst/>
          </a:prstGeom>
          <a:noFill/>
          <a:ln w="9525" cap="flat" cmpd="sng">
            <a:solidFill>
              <a:srgbClr val="39445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4" name="Google Shape;244;p6"/>
          <p:cNvSpPr/>
          <p:nvPr/>
        </p:nvSpPr>
        <p:spPr>
          <a:xfrm>
            <a:off x="11629023" y="271621"/>
            <a:ext cx="253105" cy="223584"/>
          </a:xfrm>
          <a:custGeom>
            <a:avLst/>
            <a:gdLst/>
            <a:ahLst/>
            <a:cxnLst/>
            <a:rect l="l" t="t" r="r" b="b"/>
            <a:pathLst>
              <a:path w="320" h="310" extrusionOk="0">
                <a:moveTo>
                  <a:pt x="254" y="161"/>
                </a:moveTo>
                <a:cubicBezTo>
                  <a:pt x="251" y="159"/>
                  <a:pt x="247" y="158"/>
                  <a:pt x="244" y="160"/>
                </a:cubicBezTo>
                <a:cubicBezTo>
                  <a:pt x="198" y="179"/>
                  <a:pt x="198" y="179"/>
                  <a:pt x="198" y="179"/>
                </a:cubicBezTo>
                <a:cubicBezTo>
                  <a:pt x="194" y="181"/>
                  <a:pt x="192" y="185"/>
                  <a:pt x="192" y="189"/>
                </a:cubicBezTo>
                <a:cubicBezTo>
                  <a:pt x="192" y="235"/>
                  <a:pt x="192" y="235"/>
                  <a:pt x="192" y="235"/>
                </a:cubicBezTo>
                <a:cubicBezTo>
                  <a:pt x="192" y="239"/>
                  <a:pt x="193" y="242"/>
                  <a:pt x="196" y="244"/>
                </a:cubicBezTo>
                <a:cubicBezTo>
                  <a:pt x="198" y="245"/>
                  <a:pt x="200" y="246"/>
                  <a:pt x="202" y="246"/>
                </a:cubicBezTo>
                <a:cubicBezTo>
                  <a:pt x="204" y="246"/>
                  <a:pt x="205" y="245"/>
                  <a:pt x="207" y="245"/>
                </a:cubicBezTo>
                <a:cubicBezTo>
                  <a:pt x="252" y="225"/>
                  <a:pt x="252" y="225"/>
                  <a:pt x="252" y="225"/>
                </a:cubicBezTo>
                <a:cubicBezTo>
                  <a:pt x="256" y="223"/>
                  <a:pt x="259" y="220"/>
                  <a:pt x="259" y="215"/>
                </a:cubicBezTo>
                <a:cubicBezTo>
                  <a:pt x="259" y="169"/>
                  <a:pt x="259" y="169"/>
                  <a:pt x="259" y="169"/>
                </a:cubicBezTo>
                <a:cubicBezTo>
                  <a:pt x="259" y="166"/>
                  <a:pt x="257" y="163"/>
                  <a:pt x="254" y="161"/>
                </a:cubicBezTo>
                <a:close/>
                <a:moveTo>
                  <a:pt x="238" y="208"/>
                </a:moveTo>
                <a:cubicBezTo>
                  <a:pt x="213" y="219"/>
                  <a:pt x="213" y="219"/>
                  <a:pt x="213" y="219"/>
                </a:cubicBezTo>
                <a:cubicBezTo>
                  <a:pt x="213" y="196"/>
                  <a:pt x="213" y="196"/>
                  <a:pt x="213" y="196"/>
                </a:cubicBezTo>
                <a:cubicBezTo>
                  <a:pt x="238" y="186"/>
                  <a:pt x="238" y="186"/>
                  <a:pt x="238" y="186"/>
                </a:cubicBezTo>
                <a:lnTo>
                  <a:pt x="238" y="208"/>
                </a:lnTo>
                <a:close/>
                <a:moveTo>
                  <a:pt x="313" y="65"/>
                </a:moveTo>
                <a:cubicBezTo>
                  <a:pt x="164" y="1"/>
                  <a:pt x="164" y="1"/>
                  <a:pt x="164" y="1"/>
                </a:cubicBezTo>
                <a:cubicBezTo>
                  <a:pt x="161" y="0"/>
                  <a:pt x="158" y="0"/>
                  <a:pt x="155" y="1"/>
                </a:cubicBezTo>
                <a:cubicBezTo>
                  <a:pt x="6" y="65"/>
                  <a:pt x="6" y="65"/>
                  <a:pt x="6" y="65"/>
                </a:cubicBezTo>
                <a:cubicBezTo>
                  <a:pt x="6" y="65"/>
                  <a:pt x="6" y="65"/>
                  <a:pt x="6" y="65"/>
                </a:cubicBezTo>
                <a:cubicBezTo>
                  <a:pt x="6" y="65"/>
                  <a:pt x="6" y="65"/>
                  <a:pt x="6" y="65"/>
                </a:cubicBezTo>
                <a:cubicBezTo>
                  <a:pt x="6" y="65"/>
                  <a:pt x="6" y="65"/>
                  <a:pt x="6" y="65"/>
                </a:cubicBezTo>
                <a:cubicBezTo>
                  <a:pt x="2" y="67"/>
                  <a:pt x="0" y="71"/>
                  <a:pt x="0" y="75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228"/>
                  <a:pt x="2" y="232"/>
                  <a:pt x="6" y="234"/>
                </a:cubicBezTo>
                <a:cubicBezTo>
                  <a:pt x="155" y="309"/>
                  <a:pt x="155" y="309"/>
                  <a:pt x="155" y="309"/>
                </a:cubicBezTo>
                <a:cubicBezTo>
                  <a:pt x="156" y="309"/>
                  <a:pt x="158" y="310"/>
                  <a:pt x="160" y="310"/>
                </a:cubicBezTo>
                <a:cubicBezTo>
                  <a:pt x="160" y="310"/>
                  <a:pt x="160" y="310"/>
                  <a:pt x="160" y="310"/>
                </a:cubicBezTo>
                <a:cubicBezTo>
                  <a:pt x="160" y="310"/>
                  <a:pt x="160" y="310"/>
                  <a:pt x="160" y="310"/>
                </a:cubicBezTo>
                <a:cubicBezTo>
                  <a:pt x="160" y="310"/>
                  <a:pt x="160" y="310"/>
                  <a:pt x="160" y="310"/>
                </a:cubicBezTo>
                <a:cubicBezTo>
                  <a:pt x="161" y="310"/>
                  <a:pt x="162" y="309"/>
                  <a:pt x="163" y="309"/>
                </a:cubicBezTo>
                <a:cubicBezTo>
                  <a:pt x="164" y="309"/>
                  <a:pt x="164" y="309"/>
                  <a:pt x="164" y="309"/>
                </a:cubicBezTo>
                <a:cubicBezTo>
                  <a:pt x="313" y="245"/>
                  <a:pt x="313" y="245"/>
                  <a:pt x="313" y="245"/>
                </a:cubicBezTo>
                <a:cubicBezTo>
                  <a:pt x="317" y="243"/>
                  <a:pt x="320" y="239"/>
                  <a:pt x="320" y="235"/>
                </a:cubicBezTo>
                <a:cubicBezTo>
                  <a:pt x="320" y="75"/>
                  <a:pt x="320" y="75"/>
                  <a:pt x="320" y="75"/>
                </a:cubicBezTo>
                <a:cubicBezTo>
                  <a:pt x="320" y="71"/>
                  <a:pt x="317" y="67"/>
                  <a:pt x="313" y="65"/>
                </a:cubicBezTo>
                <a:close/>
                <a:moveTo>
                  <a:pt x="160" y="127"/>
                </a:moveTo>
                <a:cubicBezTo>
                  <a:pt x="112" y="107"/>
                  <a:pt x="112" y="107"/>
                  <a:pt x="112" y="107"/>
                </a:cubicBezTo>
                <a:cubicBezTo>
                  <a:pt x="234" y="55"/>
                  <a:pt x="234" y="55"/>
                  <a:pt x="234" y="55"/>
                </a:cubicBezTo>
                <a:cubicBezTo>
                  <a:pt x="282" y="75"/>
                  <a:pt x="282" y="75"/>
                  <a:pt x="282" y="75"/>
                </a:cubicBezTo>
                <a:lnTo>
                  <a:pt x="160" y="127"/>
                </a:lnTo>
                <a:close/>
                <a:moveTo>
                  <a:pt x="160" y="23"/>
                </a:moveTo>
                <a:cubicBezTo>
                  <a:pt x="207" y="43"/>
                  <a:pt x="207" y="43"/>
                  <a:pt x="207" y="43"/>
                </a:cubicBezTo>
                <a:cubicBezTo>
                  <a:pt x="85" y="95"/>
                  <a:pt x="85" y="95"/>
                  <a:pt x="85" y="95"/>
                </a:cubicBezTo>
                <a:cubicBezTo>
                  <a:pt x="37" y="75"/>
                  <a:pt x="37" y="75"/>
                  <a:pt x="37" y="75"/>
                </a:cubicBezTo>
                <a:lnTo>
                  <a:pt x="160" y="23"/>
                </a:lnTo>
                <a:close/>
                <a:moveTo>
                  <a:pt x="21" y="218"/>
                </a:moveTo>
                <a:cubicBezTo>
                  <a:pt x="21" y="91"/>
                  <a:pt x="21" y="91"/>
                  <a:pt x="21" y="91"/>
                </a:cubicBezTo>
                <a:cubicBezTo>
                  <a:pt x="149" y="146"/>
                  <a:pt x="149" y="146"/>
                  <a:pt x="149" y="146"/>
                </a:cubicBezTo>
                <a:cubicBezTo>
                  <a:pt x="149" y="282"/>
                  <a:pt x="149" y="282"/>
                  <a:pt x="149" y="282"/>
                </a:cubicBezTo>
                <a:lnTo>
                  <a:pt x="21" y="218"/>
                </a:lnTo>
                <a:close/>
                <a:moveTo>
                  <a:pt x="170" y="283"/>
                </a:moveTo>
                <a:cubicBezTo>
                  <a:pt x="170" y="146"/>
                  <a:pt x="170" y="146"/>
                  <a:pt x="170" y="146"/>
                </a:cubicBezTo>
                <a:cubicBezTo>
                  <a:pt x="298" y="91"/>
                  <a:pt x="298" y="91"/>
                  <a:pt x="298" y="91"/>
                </a:cubicBezTo>
                <a:cubicBezTo>
                  <a:pt x="298" y="117"/>
                  <a:pt x="298" y="228"/>
                  <a:pt x="298" y="228"/>
                </a:cubicBezTo>
                <a:lnTo>
                  <a:pt x="170" y="283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3D88F4F-8B2A-410E-8D82-0E79704AF0E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7262699"/>
              </p:ext>
            </p:extLst>
          </p:nvPr>
        </p:nvGraphicFramePr>
        <p:xfrm>
          <a:off x="7880397" y="5133976"/>
          <a:ext cx="1692228" cy="6692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Packager Shell Object" showAsIcon="1" r:id="rId4" imgW="1335600" imgH="472680" progId="Package">
                  <p:embed/>
                </p:oleObj>
              </mc:Choice>
              <mc:Fallback>
                <p:oleObj name="Packager Shell Object" showAsIcon="1" r:id="rId4" imgW="1335600" imgH="472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880397" y="5133976"/>
                        <a:ext cx="1692228" cy="6692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Google Shape;249;p7"/>
          <p:cNvSpPr/>
          <p:nvPr/>
        </p:nvSpPr>
        <p:spPr>
          <a:xfrm>
            <a:off x="7683345" y="4922688"/>
            <a:ext cx="3910637" cy="170530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0" name="Google Shape;250;p7"/>
          <p:cNvSpPr txBox="1">
            <a:spLocks noGrp="1"/>
          </p:cNvSpPr>
          <p:nvPr>
            <p:ph type="sldNum" idx="12"/>
          </p:nvPr>
        </p:nvSpPr>
        <p:spPr>
          <a:xfrm>
            <a:off x="10885800" y="6303993"/>
            <a:ext cx="468000" cy="324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  <p:sp>
        <p:nvSpPr>
          <p:cNvPr id="251" name="Google Shape;251;p7"/>
          <p:cNvSpPr/>
          <p:nvPr/>
        </p:nvSpPr>
        <p:spPr>
          <a:xfrm>
            <a:off x="11523627" y="151464"/>
            <a:ext cx="463899" cy="463899"/>
          </a:xfrm>
          <a:prstGeom prst="ellipse">
            <a:avLst/>
          </a:prstGeom>
          <a:solidFill>
            <a:schemeClr val="accent1"/>
          </a:solidFill>
          <a:ln w="9525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52" name="Google Shape;252;p7"/>
          <p:cNvCxnSpPr/>
          <p:nvPr/>
        </p:nvCxnSpPr>
        <p:spPr>
          <a:xfrm rot="10800000">
            <a:off x="467845" y="1233337"/>
            <a:ext cx="6541556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oval" w="med" len="med"/>
            <a:tailEnd type="oval" w="med" len="med"/>
          </a:ln>
        </p:spPr>
      </p:cxnSp>
      <p:sp>
        <p:nvSpPr>
          <p:cNvPr id="253" name="Google Shape;253;p7"/>
          <p:cNvSpPr/>
          <p:nvPr/>
        </p:nvSpPr>
        <p:spPr>
          <a:xfrm>
            <a:off x="1100642" y="1088756"/>
            <a:ext cx="5275962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Event Owner’s Action Items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54" name="Google Shape;254;p7"/>
          <p:cNvSpPr/>
          <p:nvPr/>
        </p:nvSpPr>
        <p:spPr>
          <a:xfrm>
            <a:off x="7683346" y="1088756"/>
            <a:ext cx="3885803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Why it’s Important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55" name="Google Shape;255;p7"/>
          <p:cNvSpPr/>
          <p:nvPr/>
        </p:nvSpPr>
        <p:spPr>
          <a:xfrm>
            <a:off x="7683346" y="2257062"/>
            <a:ext cx="3885803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ips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56" name="Google Shape;256;p7"/>
          <p:cNvSpPr/>
          <p:nvPr/>
        </p:nvSpPr>
        <p:spPr>
          <a:xfrm>
            <a:off x="7683345" y="4380355"/>
            <a:ext cx="3885803" cy="289161"/>
          </a:xfrm>
          <a:prstGeom prst="rect">
            <a:avLst/>
          </a:prstGeom>
          <a:solidFill>
            <a:schemeClr val="accent1"/>
          </a:solidFill>
          <a:ln w="25400" cap="flat" cmpd="sng">
            <a:solidFill>
              <a:srgbClr val="00154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ool </a:t>
            </a:r>
            <a:endParaRPr sz="1200" b="0" i="0" u="none" strike="noStrike" cap="none">
              <a:solidFill>
                <a:schemeClr val="lt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cxnSp>
        <p:nvCxnSpPr>
          <p:cNvPr id="257" name="Google Shape;257;p7"/>
          <p:cNvCxnSpPr/>
          <p:nvPr/>
        </p:nvCxnSpPr>
        <p:spPr>
          <a:xfrm>
            <a:off x="7262263" y="1088756"/>
            <a:ext cx="0" cy="5023392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ot"/>
            <a:round/>
            <a:headEnd type="none" w="sm" len="sm"/>
            <a:tailEnd type="none" w="sm" len="sm"/>
          </a:ln>
        </p:spPr>
      </p:cxnSp>
      <p:graphicFrame>
        <p:nvGraphicFramePr>
          <p:cNvPr id="258" name="Google Shape;258;p7"/>
          <p:cNvGraphicFramePr/>
          <p:nvPr>
            <p:extLst>
              <p:ext uri="{D42A27DB-BD31-4B8C-83A1-F6EECF244321}">
                <p14:modId xmlns:p14="http://schemas.microsoft.com/office/powerpoint/2010/main" val="2734072452"/>
              </p:ext>
            </p:extLst>
          </p:nvPr>
        </p:nvGraphicFramePr>
        <p:xfrm>
          <a:off x="559415" y="1736761"/>
          <a:ext cx="6358425" cy="4001330"/>
        </p:xfrm>
        <a:graphic>
          <a:graphicData uri="http://schemas.openxmlformats.org/drawingml/2006/table">
            <a:tbl>
              <a:tblPr firstRow="1">
                <a:noFill/>
              </a:tblPr>
              <a:tblGrid>
                <a:gridCol w="2776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01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018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7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59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#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ction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Owner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Timing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9225">
                <a:tc gridSpan="4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i="1" u="none" strike="noStrike" cap="none">
                          <a:solidFill>
                            <a:srgbClr val="C80F2E"/>
                          </a:solidFill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pplies to club expenses that were paid on personal card. This should be reserved for things that cannot be paid for in advance through a supplier or pre-payment from the club directly </a:t>
                      </a:r>
                      <a:endParaRPr sz="1200" b="0" i="1" u="none" strike="noStrike" cap="none">
                        <a:solidFill>
                          <a:srgbClr val="C80F2E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86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0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ave your receipts! Keep track of your spending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Event team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s you go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86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0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b="1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Register yourself in the Reimbursement System </a:t>
                      </a:r>
                      <a:r>
                        <a:rPr lang="en-US" sz="1200" b="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s you begin spending. It takes two weeks to be approved by LBS Finance</a:t>
                      </a:r>
                      <a:endParaRPr sz="1200" b="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Event team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At least 2 weeks before submitting reimbursement request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86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1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ubmit Reimbursement Request to Treasury team. Rename attachments so we know which receipts correspond to charges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Event team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Within 2 weeks of event (you can submit expenses as you go, too)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E5E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86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2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Treasury submits reimbursement info to SA Finance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Treasury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Within 3 business days of receipt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86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3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A Finance approves, LBA Finance sends reimbursement funds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SA, LBS Finance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en-US" sz="1200" u="none" strike="noStrike" cap="none">
                          <a:latin typeface="Montserrat Light"/>
                          <a:ea typeface="Montserrat Light"/>
                          <a:cs typeface="Montserrat Light"/>
                          <a:sym typeface="Montserrat Light"/>
                        </a:rPr>
                        <a:t>1-2 weeks later</a:t>
                      </a:r>
                      <a:endParaRPr sz="1200" u="none" strike="noStrike" cap="none">
                        <a:latin typeface="Montserrat Light"/>
                        <a:ea typeface="Montserrat Light"/>
                        <a:cs typeface="Montserrat Light"/>
                        <a:sym typeface="Montserrat Light"/>
                      </a:endParaRPr>
                    </a:p>
                  </a:txBody>
                  <a:tcPr marL="91450" marR="91450" marT="45725" marB="45725" anchor="ctr"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59" name="Google Shape;259;p7"/>
          <p:cNvSpPr/>
          <p:nvPr/>
        </p:nvSpPr>
        <p:spPr>
          <a:xfrm>
            <a:off x="7683345" y="2623824"/>
            <a:ext cx="3885793" cy="901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n-US" sz="1200" b="0" i="1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PLAN AHEAD! Use the club’s funds for prepayment by requesting a supplier payment 3 weeks before the event (see SUPPLIER slide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</a:pPr>
            <a:r>
              <a:rPr lang="en-US" sz="1200" b="0" i="1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Request reimbursement </a:t>
            </a:r>
            <a:r>
              <a:rPr lang="en-US" sz="1200" b="1" i="1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within two weeks of the conclusion of an event </a:t>
            </a:r>
            <a:r>
              <a:rPr lang="en-US" sz="1200" b="0" i="1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to ensure repayment</a:t>
            </a:r>
            <a:endParaRPr sz="12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0" name="Google Shape;260;p7"/>
          <p:cNvSpPr/>
          <p:nvPr/>
        </p:nvSpPr>
        <p:spPr>
          <a:xfrm>
            <a:off x="7683345" y="1413876"/>
            <a:ext cx="3885793" cy="901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1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Club is responsible for funds spent and students are reimbursed. </a:t>
            </a:r>
            <a:endParaRPr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1" name="Google Shape;261;p7"/>
          <p:cNvSpPr/>
          <p:nvPr/>
        </p:nvSpPr>
        <p:spPr>
          <a:xfrm>
            <a:off x="9889772" y="5216631"/>
            <a:ext cx="1705528" cy="901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1" u="none" strike="noStrike" cap="none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2. </a:t>
            </a:r>
            <a:r>
              <a:rPr lang="en-US" sz="1200" b="1" i="1" u="none" strike="noStrike" cap="none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Reimbursement Request Form </a:t>
            </a:r>
            <a:r>
              <a:rPr lang="en-US" sz="1100" b="0" i="1" u="none" strike="noStrike" cap="none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(email)</a:t>
            </a:r>
            <a:endParaRPr sz="1200" b="1" i="0" u="none" strike="noStrike" cap="none">
              <a:solidFill>
                <a:schemeClr val="dk2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00000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r>
              <a:rPr lang="en-US" sz="1050" b="0" i="0" u="none" strike="noStrike" cap="none">
                <a:solidFill>
                  <a:srgbClr val="000000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Double click for form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2" name="Google Shape;262;p7"/>
          <p:cNvSpPr/>
          <p:nvPr/>
        </p:nvSpPr>
        <p:spPr>
          <a:xfrm rot="10570928">
            <a:off x="9848612" y="6145432"/>
            <a:ext cx="345441" cy="128869"/>
          </a:xfrm>
          <a:custGeom>
            <a:avLst/>
            <a:gdLst/>
            <a:ahLst/>
            <a:cxnLst/>
            <a:rect l="l" t="t" r="r" b="b"/>
            <a:pathLst>
              <a:path w="216" h="80" extrusionOk="0">
                <a:moveTo>
                  <a:pt x="212" y="22"/>
                </a:moveTo>
                <a:cubicBezTo>
                  <a:pt x="210" y="21"/>
                  <a:pt x="207" y="23"/>
                  <a:pt x="206" y="25"/>
                </a:cubicBezTo>
                <a:cubicBezTo>
                  <a:pt x="192" y="61"/>
                  <a:pt x="192" y="61"/>
                  <a:pt x="192" y="61"/>
                </a:cubicBezTo>
                <a:cubicBezTo>
                  <a:pt x="176" y="25"/>
                  <a:pt x="139" y="0"/>
                  <a:pt x="99" y="0"/>
                </a:cubicBezTo>
                <a:cubicBezTo>
                  <a:pt x="54" y="0"/>
                  <a:pt x="14" y="30"/>
                  <a:pt x="1" y="73"/>
                </a:cubicBezTo>
                <a:cubicBezTo>
                  <a:pt x="0" y="76"/>
                  <a:pt x="2" y="78"/>
                  <a:pt x="4" y="79"/>
                </a:cubicBezTo>
                <a:cubicBezTo>
                  <a:pt x="7" y="80"/>
                  <a:pt x="10" y="78"/>
                  <a:pt x="10" y="76"/>
                </a:cubicBezTo>
                <a:cubicBezTo>
                  <a:pt x="22" y="37"/>
                  <a:pt x="58" y="9"/>
                  <a:pt x="99" y="9"/>
                </a:cubicBezTo>
                <a:cubicBezTo>
                  <a:pt x="136" y="9"/>
                  <a:pt x="169" y="32"/>
                  <a:pt x="183" y="66"/>
                </a:cubicBezTo>
                <a:cubicBezTo>
                  <a:pt x="146" y="51"/>
                  <a:pt x="146" y="51"/>
                  <a:pt x="146" y="51"/>
                </a:cubicBezTo>
                <a:cubicBezTo>
                  <a:pt x="144" y="50"/>
                  <a:pt x="141" y="52"/>
                  <a:pt x="140" y="54"/>
                </a:cubicBezTo>
                <a:cubicBezTo>
                  <a:pt x="139" y="57"/>
                  <a:pt x="140" y="59"/>
                  <a:pt x="143" y="60"/>
                </a:cubicBezTo>
                <a:cubicBezTo>
                  <a:pt x="189" y="78"/>
                  <a:pt x="189" y="78"/>
                  <a:pt x="189" y="78"/>
                </a:cubicBezTo>
                <a:cubicBezTo>
                  <a:pt x="189" y="79"/>
                  <a:pt x="190" y="79"/>
                  <a:pt x="192" y="79"/>
                </a:cubicBezTo>
                <a:cubicBezTo>
                  <a:pt x="192" y="79"/>
                  <a:pt x="192" y="79"/>
                  <a:pt x="192" y="79"/>
                </a:cubicBezTo>
                <a:cubicBezTo>
                  <a:pt x="192" y="79"/>
                  <a:pt x="192" y="79"/>
                  <a:pt x="192" y="79"/>
                </a:cubicBezTo>
                <a:cubicBezTo>
                  <a:pt x="193" y="79"/>
                  <a:pt x="193" y="79"/>
                  <a:pt x="194" y="79"/>
                </a:cubicBezTo>
                <a:cubicBezTo>
                  <a:pt x="195" y="78"/>
                  <a:pt x="196" y="77"/>
                  <a:pt x="197" y="76"/>
                </a:cubicBezTo>
                <a:cubicBezTo>
                  <a:pt x="215" y="29"/>
                  <a:pt x="215" y="29"/>
                  <a:pt x="215" y="29"/>
                </a:cubicBezTo>
                <a:cubicBezTo>
                  <a:pt x="216" y="26"/>
                  <a:pt x="215" y="23"/>
                  <a:pt x="212" y="22"/>
                </a:cubicBezTo>
                <a:close/>
              </a:path>
            </a:pathLst>
          </a:custGeom>
          <a:solidFill>
            <a:srgbClr val="231F20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3" name="Google Shape;263;p7"/>
          <p:cNvSpPr txBox="1"/>
          <p:nvPr/>
        </p:nvSpPr>
        <p:spPr>
          <a:xfrm>
            <a:off x="3183070" y="243262"/>
            <a:ext cx="817200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5700" rIns="0" bIns="45700" anchor="t" anchorCtr="0">
            <a:no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Montserrat Light"/>
              <a:buNone/>
            </a:pPr>
            <a:r>
              <a:rPr lang="en-US" sz="2000" b="1" i="0" u="none" strike="noStrike" cap="none" dirty="0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REQUEST REIMBURSEMENT</a:t>
            </a:r>
            <a:endParaRPr sz="2000" b="1" i="0" u="none" strike="noStrike" cap="none" dirty="0">
              <a:solidFill>
                <a:schemeClr val="dk1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65" name="Google Shape;265;p7"/>
          <p:cNvSpPr/>
          <p:nvPr/>
        </p:nvSpPr>
        <p:spPr>
          <a:xfrm>
            <a:off x="7680708" y="5174950"/>
            <a:ext cx="2092388" cy="937197"/>
          </a:xfrm>
          <a:prstGeom prst="rect">
            <a:avLst/>
          </a:prstGeom>
          <a:noFill/>
          <a:ln w="9525" cap="flat" cmpd="sng">
            <a:solidFill>
              <a:srgbClr val="39445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6" name="Google Shape;266;p7"/>
          <p:cNvSpPr/>
          <p:nvPr/>
        </p:nvSpPr>
        <p:spPr>
          <a:xfrm>
            <a:off x="7682026" y="4742175"/>
            <a:ext cx="3885791" cy="901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1" u="none" strike="noStrike" cap="none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1. </a:t>
            </a:r>
            <a:r>
              <a:rPr lang="en-US" sz="1200" b="1" i="1" u="sng" strike="noStrike" cap="none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  <a:hlinkClick r:id="rId4"/>
              </a:rPr>
              <a:t>Reimbursement system registration </a:t>
            </a:r>
            <a:r>
              <a:rPr lang="en-US" sz="1200" b="0" i="1" u="none" strike="noStrike" cap="none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rPr>
              <a:t>(link)</a:t>
            </a:r>
            <a:endParaRPr sz="1050" b="0" i="0" u="none" strike="noStrike" cap="none">
              <a:solidFill>
                <a:srgbClr val="000000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268" name="Google Shape;268;p7"/>
          <p:cNvSpPr/>
          <p:nvPr/>
        </p:nvSpPr>
        <p:spPr>
          <a:xfrm>
            <a:off x="11621443" y="306760"/>
            <a:ext cx="253555" cy="153307"/>
          </a:xfrm>
          <a:custGeom>
            <a:avLst/>
            <a:gdLst/>
            <a:ahLst/>
            <a:cxnLst/>
            <a:rect l="l" t="t" r="r" b="b"/>
            <a:pathLst>
              <a:path w="320" h="213" extrusionOk="0">
                <a:moveTo>
                  <a:pt x="64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70"/>
                  <a:pt x="4" y="75"/>
                  <a:pt x="10" y="75"/>
                </a:cubicBezTo>
                <a:cubicBezTo>
                  <a:pt x="64" y="75"/>
                  <a:pt x="64" y="75"/>
                  <a:pt x="64" y="75"/>
                </a:cubicBezTo>
                <a:cubicBezTo>
                  <a:pt x="70" y="75"/>
                  <a:pt x="74" y="70"/>
                  <a:pt x="74" y="64"/>
                </a:cubicBezTo>
                <a:cubicBezTo>
                  <a:pt x="74" y="11"/>
                  <a:pt x="74" y="11"/>
                  <a:pt x="74" y="11"/>
                </a:cubicBezTo>
                <a:cubicBezTo>
                  <a:pt x="74" y="5"/>
                  <a:pt x="70" y="0"/>
                  <a:pt x="64" y="0"/>
                </a:cubicBezTo>
                <a:close/>
                <a:moveTo>
                  <a:pt x="53" y="53"/>
                </a:moveTo>
                <a:cubicBezTo>
                  <a:pt x="21" y="53"/>
                  <a:pt x="21" y="53"/>
                  <a:pt x="21" y="53"/>
                </a:cubicBezTo>
                <a:cubicBezTo>
                  <a:pt x="21" y="21"/>
                  <a:pt x="21" y="21"/>
                  <a:pt x="21" y="21"/>
                </a:cubicBezTo>
                <a:cubicBezTo>
                  <a:pt x="53" y="21"/>
                  <a:pt x="53" y="21"/>
                  <a:pt x="53" y="21"/>
                </a:cubicBezTo>
                <a:lnTo>
                  <a:pt x="53" y="53"/>
                </a:lnTo>
                <a:close/>
                <a:moveTo>
                  <a:pt x="117" y="11"/>
                </a:moveTo>
                <a:cubicBezTo>
                  <a:pt x="117" y="5"/>
                  <a:pt x="122" y="0"/>
                  <a:pt x="128" y="0"/>
                </a:cubicBezTo>
                <a:cubicBezTo>
                  <a:pt x="309" y="0"/>
                  <a:pt x="309" y="0"/>
                  <a:pt x="309" y="0"/>
                </a:cubicBezTo>
                <a:cubicBezTo>
                  <a:pt x="315" y="0"/>
                  <a:pt x="320" y="5"/>
                  <a:pt x="320" y="11"/>
                </a:cubicBezTo>
                <a:cubicBezTo>
                  <a:pt x="320" y="17"/>
                  <a:pt x="315" y="21"/>
                  <a:pt x="309" y="21"/>
                </a:cubicBezTo>
                <a:cubicBezTo>
                  <a:pt x="128" y="21"/>
                  <a:pt x="128" y="21"/>
                  <a:pt x="128" y="21"/>
                </a:cubicBezTo>
                <a:cubicBezTo>
                  <a:pt x="122" y="21"/>
                  <a:pt x="117" y="17"/>
                  <a:pt x="117" y="11"/>
                </a:cubicBezTo>
                <a:close/>
                <a:moveTo>
                  <a:pt x="320" y="64"/>
                </a:moveTo>
                <a:cubicBezTo>
                  <a:pt x="320" y="70"/>
                  <a:pt x="315" y="75"/>
                  <a:pt x="309" y="75"/>
                </a:cubicBezTo>
                <a:cubicBezTo>
                  <a:pt x="128" y="75"/>
                  <a:pt x="128" y="75"/>
                  <a:pt x="128" y="75"/>
                </a:cubicBezTo>
                <a:cubicBezTo>
                  <a:pt x="122" y="75"/>
                  <a:pt x="117" y="70"/>
                  <a:pt x="117" y="64"/>
                </a:cubicBezTo>
                <a:cubicBezTo>
                  <a:pt x="117" y="58"/>
                  <a:pt x="122" y="53"/>
                  <a:pt x="128" y="53"/>
                </a:cubicBezTo>
                <a:cubicBezTo>
                  <a:pt x="309" y="53"/>
                  <a:pt x="309" y="53"/>
                  <a:pt x="309" y="53"/>
                </a:cubicBezTo>
                <a:cubicBezTo>
                  <a:pt x="315" y="53"/>
                  <a:pt x="320" y="58"/>
                  <a:pt x="320" y="64"/>
                </a:cubicBezTo>
                <a:close/>
                <a:moveTo>
                  <a:pt x="64" y="139"/>
                </a:moveTo>
                <a:cubicBezTo>
                  <a:pt x="10" y="139"/>
                  <a:pt x="10" y="139"/>
                  <a:pt x="10" y="139"/>
                </a:cubicBezTo>
                <a:cubicBezTo>
                  <a:pt x="4" y="139"/>
                  <a:pt x="0" y="143"/>
                  <a:pt x="0" y="149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209"/>
                  <a:pt x="4" y="213"/>
                  <a:pt x="10" y="213"/>
                </a:cubicBezTo>
                <a:cubicBezTo>
                  <a:pt x="64" y="213"/>
                  <a:pt x="64" y="213"/>
                  <a:pt x="64" y="213"/>
                </a:cubicBezTo>
                <a:cubicBezTo>
                  <a:pt x="70" y="213"/>
                  <a:pt x="74" y="209"/>
                  <a:pt x="74" y="203"/>
                </a:cubicBezTo>
                <a:cubicBezTo>
                  <a:pt x="74" y="149"/>
                  <a:pt x="74" y="149"/>
                  <a:pt x="74" y="149"/>
                </a:cubicBezTo>
                <a:cubicBezTo>
                  <a:pt x="74" y="143"/>
                  <a:pt x="70" y="139"/>
                  <a:pt x="64" y="139"/>
                </a:cubicBezTo>
                <a:close/>
                <a:moveTo>
                  <a:pt x="53" y="192"/>
                </a:moveTo>
                <a:cubicBezTo>
                  <a:pt x="21" y="192"/>
                  <a:pt x="21" y="192"/>
                  <a:pt x="21" y="192"/>
                </a:cubicBezTo>
                <a:cubicBezTo>
                  <a:pt x="21" y="160"/>
                  <a:pt x="21" y="160"/>
                  <a:pt x="21" y="160"/>
                </a:cubicBezTo>
                <a:cubicBezTo>
                  <a:pt x="53" y="160"/>
                  <a:pt x="53" y="160"/>
                  <a:pt x="53" y="160"/>
                </a:cubicBezTo>
                <a:lnTo>
                  <a:pt x="53" y="192"/>
                </a:lnTo>
                <a:close/>
                <a:moveTo>
                  <a:pt x="320" y="149"/>
                </a:moveTo>
                <a:cubicBezTo>
                  <a:pt x="320" y="155"/>
                  <a:pt x="315" y="160"/>
                  <a:pt x="309" y="160"/>
                </a:cubicBezTo>
                <a:cubicBezTo>
                  <a:pt x="128" y="160"/>
                  <a:pt x="128" y="160"/>
                  <a:pt x="128" y="160"/>
                </a:cubicBezTo>
                <a:cubicBezTo>
                  <a:pt x="122" y="160"/>
                  <a:pt x="117" y="155"/>
                  <a:pt x="117" y="149"/>
                </a:cubicBezTo>
                <a:cubicBezTo>
                  <a:pt x="117" y="143"/>
                  <a:pt x="122" y="139"/>
                  <a:pt x="128" y="139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15" y="139"/>
                  <a:pt x="320" y="143"/>
                  <a:pt x="320" y="149"/>
                </a:cubicBezTo>
                <a:close/>
                <a:moveTo>
                  <a:pt x="320" y="203"/>
                </a:moveTo>
                <a:cubicBezTo>
                  <a:pt x="320" y="209"/>
                  <a:pt x="315" y="213"/>
                  <a:pt x="309" y="213"/>
                </a:cubicBezTo>
                <a:cubicBezTo>
                  <a:pt x="128" y="213"/>
                  <a:pt x="128" y="213"/>
                  <a:pt x="128" y="213"/>
                </a:cubicBezTo>
                <a:cubicBezTo>
                  <a:pt x="122" y="213"/>
                  <a:pt x="117" y="209"/>
                  <a:pt x="117" y="203"/>
                </a:cubicBezTo>
                <a:cubicBezTo>
                  <a:pt x="117" y="197"/>
                  <a:pt x="122" y="192"/>
                  <a:pt x="128" y="192"/>
                </a:cubicBezTo>
                <a:cubicBezTo>
                  <a:pt x="309" y="192"/>
                  <a:pt x="309" y="192"/>
                  <a:pt x="309" y="192"/>
                </a:cubicBezTo>
                <a:cubicBezTo>
                  <a:pt x="315" y="192"/>
                  <a:pt x="320" y="197"/>
                  <a:pt x="320" y="203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6C7A42D8-B369-4713-B4CE-093FE8F028B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19144991"/>
              </p:ext>
            </p:extLst>
          </p:nvPr>
        </p:nvGraphicFramePr>
        <p:xfrm>
          <a:off x="7832725" y="5324476"/>
          <a:ext cx="1787526" cy="633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Packager Shell Object" showAsIcon="1" r:id="rId5" imgW="1393560" imgH="472680" progId="Package">
                  <p:embed/>
                </p:oleObj>
              </mc:Choice>
              <mc:Fallback>
                <p:oleObj name="Packager Shell Object" showAsIcon="1" r:id="rId5" imgW="1393560" imgH="472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832725" y="5324476"/>
                        <a:ext cx="1787526" cy="633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5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3.68559000000000036579E+00&quot;&gt;&lt;m_msothmcolidx val=&quot;0&quot;/&gt;&lt;m_rgb r=&quot;D6&quot; g=&quot;99&quot; b=&quot;0C&quot;/&gt;&lt;m_nBrightness endver=&quot;26206&quot; val=&quot;0&quot;/&gt;&lt;/elem&gt;&lt;elem m_fUsage=&quot;1.00000000000000000000E+00&quot;&gt;&lt;m_msothmcolidx val=&quot;0&quot;/&gt;&lt;m_rgb r=&quot;86&quot; g=&quot;86&quot; b=&quot;86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sLwtHZquMF2cx0yYcO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SK8vpyfYot9ZXAxq5H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hyCkdv6q_q2_yewOB8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ECicyFJu1299shvsui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jX8h7gQ8tJRqW_h8kF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4pNzo2x4TxTDWpOy8D.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oVQehfB8E8g.D9Uf.F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YD24tgMSnXFBRaK5m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UBYN18I2CXWIXHwFOX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zbHPBXDMnuKg.MoQU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zKxNrnf6og.ZTc1CD6w"/>
</p:tagLst>
</file>

<file path=ppt/theme/theme1.xml><?xml version="1.0" encoding="utf-8"?>
<a:theme xmlns:a="http://schemas.openxmlformats.org/drawingml/2006/main" name="Office Theme">
  <a:themeElements>
    <a:clrScheme name="LBS">
      <a:dk1>
        <a:srgbClr val="001E61"/>
      </a:dk1>
      <a:lt1>
        <a:srgbClr val="FFFFFF"/>
      </a:lt1>
      <a:dk2>
        <a:srgbClr val="001440"/>
      </a:dk2>
      <a:lt2>
        <a:srgbClr val="EBE8E5"/>
      </a:lt2>
      <a:accent1>
        <a:srgbClr val="001E61"/>
      </a:accent1>
      <a:accent2>
        <a:srgbClr val="7F8EB0"/>
      </a:accent2>
      <a:accent3>
        <a:srgbClr val="CBD1DF"/>
      </a:accent3>
      <a:accent4>
        <a:srgbClr val="D7D2CB"/>
      </a:accent4>
      <a:accent5>
        <a:srgbClr val="A89F90"/>
      </a:accent5>
      <a:accent6>
        <a:srgbClr val="C00000"/>
      </a:accent6>
      <a:hlink>
        <a:srgbClr val="192B53"/>
      </a:hlink>
      <a:folHlink>
        <a:srgbClr val="7F8E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5343.27_PPT_16-9_v16_working file" id="{B35B2F27-7508-4DCB-A423-F209600C1617}" vid="{C233B007-C22A-4F55-BA3E-6D0F23A2B40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6-9 PPT_v17</Template>
  <TotalTime>3852</TotalTime>
  <Words>1232</Words>
  <Application>Microsoft Office PowerPoint</Application>
  <PresentationFormat>Widescreen</PresentationFormat>
  <Paragraphs>218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Calibri</vt:lpstr>
      <vt:lpstr>Cambria</vt:lpstr>
      <vt:lpstr>Montserrat Light</vt:lpstr>
      <vt:lpstr>Office Theme</vt:lpstr>
      <vt:lpstr>think-cell Slide</vt:lpstr>
      <vt:lpstr>Package</vt:lpstr>
      <vt:lpstr>Microsoft Word Document</vt:lpstr>
      <vt:lpstr>Treasury Toolbox</vt:lpstr>
      <vt:lpstr>Treasury Activities &amp; Timelin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London Business Schoo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</dc:title>
  <dc:creator>Vanessa Ruffett</dc:creator>
  <cp:lastModifiedBy>alfredo Zazueta</cp:lastModifiedBy>
  <cp:revision>170</cp:revision>
  <dcterms:created xsi:type="dcterms:W3CDTF">2019-04-15T07:50:06Z</dcterms:created>
  <dcterms:modified xsi:type="dcterms:W3CDTF">2020-11-15T22:34:28Z</dcterms:modified>
</cp:coreProperties>
</file>